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5" r:id="rId4"/>
    <p:sldMasterId id="2147483914" r:id="rId5"/>
    <p:sldMasterId id="2147483941" r:id="rId6"/>
    <p:sldMasterId id="2147483946" r:id="rId7"/>
    <p:sldMasterId id="2147483948" r:id="rId8"/>
  </p:sldMasterIdLst>
  <p:notesMasterIdLst>
    <p:notesMasterId r:id="rId36"/>
  </p:notesMasterIdLst>
  <p:sldIdLst>
    <p:sldId id="2134805934" r:id="rId9"/>
    <p:sldId id="2134805962" r:id="rId10"/>
    <p:sldId id="2134805964" r:id="rId11"/>
    <p:sldId id="2134805968" r:id="rId12"/>
    <p:sldId id="2134806012" r:id="rId13"/>
    <p:sldId id="2134806005" r:id="rId14"/>
    <p:sldId id="2134806006" r:id="rId15"/>
    <p:sldId id="2134806007" r:id="rId16"/>
    <p:sldId id="2134806008" r:id="rId17"/>
    <p:sldId id="2134805977" r:id="rId18"/>
    <p:sldId id="2134805981" r:id="rId19"/>
    <p:sldId id="268" r:id="rId20"/>
    <p:sldId id="2134805972" r:id="rId21"/>
    <p:sldId id="2134805973" r:id="rId22"/>
    <p:sldId id="2134805974" r:id="rId23"/>
    <p:sldId id="2134806013" r:id="rId24"/>
    <p:sldId id="2134806001" r:id="rId25"/>
    <p:sldId id="2134805976" r:id="rId26"/>
    <p:sldId id="2134806002" r:id="rId27"/>
    <p:sldId id="2134806003" r:id="rId28"/>
    <p:sldId id="2134805975" r:id="rId29"/>
    <p:sldId id="2134805979" r:id="rId30"/>
    <p:sldId id="2134805961" r:id="rId31"/>
    <p:sldId id="2134806014" r:id="rId32"/>
    <p:sldId id="2134806011" r:id="rId33"/>
    <p:sldId id="2134805995" r:id="rId34"/>
    <p:sldId id="2134805998"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ustomer presentation" id="{4FCAFC52-71B2-469B-AA2D-6DE936F61532}">
          <p14:sldIdLst>
            <p14:sldId id="2134805934"/>
            <p14:sldId id="2134805962"/>
            <p14:sldId id="2134805964"/>
            <p14:sldId id="2134805968"/>
            <p14:sldId id="2134806012"/>
            <p14:sldId id="2134806005"/>
            <p14:sldId id="2134806006"/>
            <p14:sldId id="2134806007"/>
            <p14:sldId id="2134806008"/>
            <p14:sldId id="2134805977"/>
            <p14:sldId id="2134805981"/>
            <p14:sldId id="268"/>
            <p14:sldId id="2134805972"/>
            <p14:sldId id="2134805973"/>
            <p14:sldId id="2134805974"/>
            <p14:sldId id="2134806013"/>
            <p14:sldId id="2134806001"/>
            <p14:sldId id="2134805976"/>
            <p14:sldId id="2134806002"/>
            <p14:sldId id="2134806003"/>
            <p14:sldId id="2134805975"/>
            <p14:sldId id="2134805979"/>
            <p14:sldId id="2134805961"/>
            <p14:sldId id="2134806014"/>
            <p14:sldId id="2134806011"/>
            <p14:sldId id="2134805995"/>
            <p14:sldId id="2134805998"/>
          </p14:sldIdLst>
        </p14:section>
        <p14:section name="MSONLY" id="{406884F5-C931-4CF2-BB2D-23736FE36AA0}">
          <p14:sldIdLst/>
        </p14:section>
      </p14:sectionLst>
    </p:ext>
    <p:ext uri="{EFAFB233-063F-42B5-8137-9DF3F51BA10A}">
      <p15:sldGuideLst xmlns:p15="http://schemas.microsoft.com/office/powerpoint/2012/main">
        <p15:guide id="1" pos="188" userDrawn="1">
          <p15:clr>
            <a:srgbClr val="A4A3A4"/>
          </p15:clr>
        </p15:guide>
        <p15:guide id="3" pos="7512" userDrawn="1">
          <p15:clr>
            <a:srgbClr val="A4A3A4"/>
          </p15:clr>
        </p15:guide>
        <p15:guide id="4" orient="horz" pos="12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avid Mattingley" initials="DM" lastIdx="1" clrIdx="6">
    <p:extLst>
      <p:ext uri="{19B8F6BF-5375-455C-9EA6-DF929625EA0E}">
        <p15:presenceInfo xmlns:p15="http://schemas.microsoft.com/office/powerpoint/2012/main" userId="S::davmat@microsoft.com::d9d43339-6d72-4a05-bbfe-3d77b13d1dd4" providerId="AD"/>
      </p:ext>
    </p:extLst>
  </p:cmAuthor>
  <p:cmAuthor id="1" name="Mi-La Delaney" initials="MD" lastIdx="3" clrIdx="0">
    <p:extLst>
      <p:ext uri="{19B8F6BF-5375-455C-9EA6-DF929625EA0E}">
        <p15:presenceInfo xmlns:p15="http://schemas.microsoft.com/office/powerpoint/2012/main" userId="Mi-La Delaney" providerId="None"/>
      </p:ext>
    </p:extLst>
  </p:cmAuthor>
  <p:cmAuthor id="8" name="Serah" initials="S" lastIdx="6" clrIdx="7">
    <p:extLst>
      <p:ext uri="{19B8F6BF-5375-455C-9EA6-DF929625EA0E}">
        <p15:presenceInfo xmlns:p15="http://schemas.microsoft.com/office/powerpoint/2012/main" userId="Serah" providerId="None"/>
      </p:ext>
    </p:extLst>
  </p:cmAuthor>
  <p:cmAuthor id="2" name="Mi-La Delaney" initials="MD [2]" lastIdx="23" clrIdx="1">
    <p:extLst>
      <p:ext uri="{19B8F6BF-5375-455C-9EA6-DF929625EA0E}">
        <p15:presenceInfo xmlns:p15="http://schemas.microsoft.com/office/powerpoint/2012/main" userId="S::milade@microsoft.com::b9dfbcb4-d2e2-41bb-87c3-f3f93540aa85" providerId="AD"/>
      </p:ext>
    </p:extLst>
  </p:cmAuthor>
  <p:cmAuthor id="9" name="Anusha Rangaswamy" initials="AR" lastIdx="4" clrIdx="8">
    <p:extLst>
      <p:ext uri="{19B8F6BF-5375-455C-9EA6-DF929625EA0E}">
        <p15:presenceInfo xmlns:p15="http://schemas.microsoft.com/office/powerpoint/2012/main" userId="S::anushar@microsoft.com::c5be9b2b-ec2f-4434-9afc-685d6c24f361" providerId="AD"/>
      </p:ext>
    </p:extLst>
  </p:cmAuthor>
  <p:cmAuthor id="3" name="Angie Doyle (Red Door Collaborative LLC)" initials="AD(DCL" lastIdx="8" clrIdx="2">
    <p:extLst>
      <p:ext uri="{19B8F6BF-5375-455C-9EA6-DF929625EA0E}">
        <p15:presenceInfo xmlns:p15="http://schemas.microsoft.com/office/powerpoint/2012/main" userId="S::v-angdoy@microsoft.com::e0a7a546-8307-4776-8217-e141d55ba735" providerId="AD"/>
      </p:ext>
    </p:extLst>
  </p:cmAuthor>
  <p:cmAuthor id="10" name="Mary Lisa Newman" initials="MLN" lastIdx="7" clrIdx="9">
    <p:extLst>
      <p:ext uri="{19B8F6BF-5375-455C-9EA6-DF929625EA0E}">
        <p15:presenceInfo xmlns:p15="http://schemas.microsoft.com/office/powerpoint/2012/main" userId="S::marylisa@audienz.com::9c8cba21-67a1-4aa9-98ba-c4ca1eda0aa0" providerId="AD"/>
      </p:ext>
    </p:extLst>
  </p:cmAuthor>
  <p:cmAuthor id="4" name="Jason Unger" initials="JU" lastIdx="7" clrIdx="3">
    <p:extLst>
      <p:ext uri="{19B8F6BF-5375-455C-9EA6-DF929625EA0E}">
        <p15:presenceInfo xmlns:p15="http://schemas.microsoft.com/office/powerpoint/2012/main" userId="S::jaunger@microsoft.com::2f256d4b-562a-4fcd-80f1-8b557779b75c" providerId="AD"/>
      </p:ext>
    </p:extLst>
  </p:cmAuthor>
  <p:cmAuthor id="11" name="Adrienne Krefft" initials="AK" lastIdx="1" clrIdx="10">
    <p:extLst>
      <p:ext uri="{19B8F6BF-5375-455C-9EA6-DF929625EA0E}">
        <p15:presenceInfo xmlns:p15="http://schemas.microsoft.com/office/powerpoint/2012/main" userId="S::adkrefft@microsoft.com::5324d489-71df-426f-9522-b8707af7c6b7" providerId="AD"/>
      </p:ext>
    </p:extLst>
  </p:cmAuthor>
  <p:cmAuthor id="5" name="Serah Delaini (PROVOKE SOLUTIONS INC)" initials="SD(SI" lastIdx="23" clrIdx="4">
    <p:extLst>
      <p:ext uri="{19B8F6BF-5375-455C-9EA6-DF929625EA0E}">
        <p15:presenceInfo xmlns:p15="http://schemas.microsoft.com/office/powerpoint/2012/main" userId="Serah Delaini (PROVOKE SOLUTIONS INC)" providerId="None"/>
      </p:ext>
    </p:extLst>
  </p:cmAuthor>
  <p:cmAuthor id="6" name="Kate Maloney" initials="KM" lastIdx="111" clrIdx="5">
    <p:extLst>
      <p:ext uri="{19B8F6BF-5375-455C-9EA6-DF929625EA0E}">
        <p15:presenceInfo xmlns:p15="http://schemas.microsoft.com/office/powerpoint/2012/main" userId="S::kamalone@microsoft.com::9225b307-2eef-4187-bdc0-971d20d655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0000"/>
    <a:srgbClr val="282828"/>
    <a:srgbClr val="50E6FF"/>
    <a:srgbClr val="003C6C"/>
    <a:srgbClr val="0078D3"/>
    <a:srgbClr val="243A5E"/>
    <a:srgbClr val="CC8608"/>
    <a:srgbClr val="ABDBFF"/>
    <a:srgbClr val="AFAF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47197" autoAdjust="0"/>
  </p:normalViewPr>
  <p:slideViewPr>
    <p:cSldViewPr snapToGrid="0">
      <p:cViewPr varScale="1">
        <p:scale>
          <a:sx n="39" d="100"/>
          <a:sy n="39" d="100"/>
        </p:scale>
        <p:origin x="2501" y="31"/>
      </p:cViewPr>
      <p:guideLst>
        <p:guide pos="188"/>
        <p:guide pos="7512"/>
        <p:guide orient="horz" pos="129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iano Moreira" userId="81b8fdb4-f0e4-4457-95d0-b1edd3d5525c" providerId="ADAL" clId="{168D03C3-F8CD-43E5-B874-80237273F438}"/>
    <pc:docChg chg="delSld modSld modSection">
      <pc:chgData name="Luciano Moreira" userId="81b8fdb4-f0e4-4457-95d0-b1edd3d5525c" providerId="ADAL" clId="{168D03C3-F8CD-43E5-B874-80237273F438}" dt="2022-06-17T17:28:41.173" v="24" actId="47"/>
      <pc:docMkLst>
        <pc:docMk/>
      </pc:docMkLst>
      <pc:sldChg chg="modNotesTx">
        <pc:chgData name="Luciano Moreira" userId="81b8fdb4-f0e4-4457-95d0-b1edd3d5525c" providerId="ADAL" clId="{168D03C3-F8CD-43E5-B874-80237273F438}" dt="2022-06-17T17:26:26.487" v="0" actId="6549"/>
        <pc:sldMkLst>
          <pc:docMk/>
          <pc:sldMk cId="4005972839" sldId="2134805934"/>
        </pc:sldMkLst>
      </pc:sldChg>
      <pc:sldChg chg="del">
        <pc:chgData name="Luciano Moreira" userId="81b8fdb4-f0e4-4457-95d0-b1edd3d5525c" providerId="ADAL" clId="{168D03C3-F8CD-43E5-B874-80237273F438}" dt="2022-06-17T17:28:12.994" v="14" actId="47"/>
        <pc:sldMkLst>
          <pc:docMk/>
          <pc:sldMk cId="3011992322" sldId="2134805967"/>
        </pc:sldMkLst>
      </pc:sldChg>
      <pc:sldChg chg="modNotesTx">
        <pc:chgData name="Luciano Moreira" userId="81b8fdb4-f0e4-4457-95d0-b1edd3d5525c" providerId="ADAL" clId="{168D03C3-F8CD-43E5-B874-80237273F438}" dt="2022-06-17T17:26:30.523" v="1" actId="6549"/>
        <pc:sldMkLst>
          <pc:docMk/>
          <pc:sldMk cId="800560644" sldId="2134805968"/>
        </pc:sldMkLst>
      </pc:sldChg>
      <pc:sldChg chg="del">
        <pc:chgData name="Luciano Moreira" userId="81b8fdb4-f0e4-4457-95d0-b1edd3d5525c" providerId="ADAL" clId="{168D03C3-F8CD-43E5-B874-80237273F438}" dt="2022-06-17T17:28:13.540" v="15" actId="47"/>
        <pc:sldMkLst>
          <pc:docMk/>
          <pc:sldMk cId="2103632534" sldId="2134805969"/>
        </pc:sldMkLst>
      </pc:sldChg>
      <pc:sldChg chg="del">
        <pc:chgData name="Luciano Moreira" userId="81b8fdb4-f0e4-4457-95d0-b1edd3d5525c" providerId="ADAL" clId="{168D03C3-F8CD-43E5-B874-80237273F438}" dt="2022-06-17T17:26:34.988" v="2" actId="47"/>
        <pc:sldMkLst>
          <pc:docMk/>
          <pc:sldMk cId="126400210" sldId="2134805971"/>
        </pc:sldMkLst>
      </pc:sldChg>
      <pc:sldChg chg="del modNotesTx">
        <pc:chgData name="Luciano Moreira" userId="81b8fdb4-f0e4-4457-95d0-b1edd3d5525c" providerId="ADAL" clId="{168D03C3-F8CD-43E5-B874-80237273F438}" dt="2022-06-17T17:28:41.173" v="24" actId="47"/>
        <pc:sldMkLst>
          <pc:docMk/>
          <pc:sldMk cId="4057827721" sldId="2134805985"/>
        </pc:sldMkLst>
      </pc:sldChg>
      <pc:sldChg chg="del">
        <pc:chgData name="Luciano Moreira" userId="81b8fdb4-f0e4-4457-95d0-b1edd3d5525c" providerId="ADAL" clId="{168D03C3-F8CD-43E5-B874-80237273F438}" dt="2022-06-17T17:28:40.559" v="23" actId="47"/>
        <pc:sldMkLst>
          <pc:docMk/>
          <pc:sldMk cId="3164731495" sldId="2134805986"/>
        </pc:sldMkLst>
      </pc:sldChg>
      <pc:sldChg chg="del">
        <pc:chgData name="Luciano Moreira" userId="81b8fdb4-f0e4-4457-95d0-b1edd3d5525c" providerId="ADAL" clId="{168D03C3-F8CD-43E5-B874-80237273F438}" dt="2022-06-17T17:28:26.258" v="20" actId="47"/>
        <pc:sldMkLst>
          <pc:docMk/>
          <pc:sldMk cId="1872076548" sldId="2134805987"/>
        </pc:sldMkLst>
      </pc:sldChg>
      <pc:sldChg chg="del">
        <pc:chgData name="Luciano Moreira" userId="81b8fdb4-f0e4-4457-95d0-b1edd3d5525c" providerId="ADAL" clId="{168D03C3-F8CD-43E5-B874-80237273F438}" dt="2022-06-17T17:28:39.938" v="22" actId="47"/>
        <pc:sldMkLst>
          <pc:docMk/>
          <pc:sldMk cId="1489414041" sldId="2134805988"/>
        </pc:sldMkLst>
      </pc:sldChg>
      <pc:sldChg chg="del">
        <pc:chgData name="Luciano Moreira" userId="81b8fdb4-f0e4-4457-95d0-b1edd3d5525c" providerId="ADAL" clId="{168D03C3-F8CD-43E5-B874-80237273F438}" dt="2022-06-17T17:28:23.929" v="19" actId="47"/>
        <pc:sldMkLst>
          <pc:docMk/>
          <pc:sldMk cId="3765687255" sldId="2134805989"/>
        </pc:sldMkLst>
      </pc:sldChg>
      <pc:sldChg chg="del">
        <pc:chgData name="Luciano Moreira" userId="81b8fdb4-f0e4-4457-95d0-b1edd3d5525c" providerId="ADAL" clId="{168D03C3-F8CD-43E5-B874-80237273F438}" dt="2022-06-17T17:28:28.016" v="21" actId="47"/>
        <pc:sldMkLst>
          <pc:docMk/>
          <pc:sldMk cId="1856993424" sldId="2134805990"/>
        </pc:sldMkLst>
      </pc:sldChg>
      <pc:sldChg chg="del">
        <pc:chgData name="Luciano Moreira" userId="81b8fdb4-f0e4-4457-95d0-b1edd3d5525c" providerId="ADAL" clId="{168D03C3-F8CD-43E5-B874-80237273F438}" dt="2022-06-17T17:28:22.390" v="18" actId="47"/>
        <pc:sldMkLst>
          <pc:docMk/>
          <pc:sldMk cId="672642086" sldId="2134805991"/>
        </pc:sldMkLst>
      </pc:sldChg>
      <pc:sldChg chg="modNotesTx">
        <pc:chgData name="Luciano Moreira" userId="81b8fdb4-f0e4-4457-95d0-b1edd3d5525c" providerId="ADAL" clId="{168D03C3-F8CD-43E5-B874-80237273F438}" dt="2022-06-17T17:28:05.026" v="12" actId="6549"/>
        <pc:sldMkLst>
          <pc:docMk/>
          <pc:sldMk cId="2514450869" sldId="2134805995"/>
        </pc:sldMkLst>
      </pc:sldChg>
      <pc:sldChg chg="modNotesTx">
        <pc:chgData name="Luciano Moreira" userId="81b8fdb4-f0e4-4457-95d0-b1edd3d5525c" providerId="ADAL" clId="{168D03C3-F8CD-43E5-B874-80237273F438}" dt="2022-06-17T17:28:08.255" v="13" actId="20577"/>
        <pc:sldMkLst>
          <pc:docMk/>
          <pc:sldMk cId="1748169315" sldId="2134805998"/>
        </pc:sldMkLst>
      </pc:sldChg>
      <pc:sldChg chg="modNotesTx">
        <pc:chgData name="Luciano Moreira" userId="81b8fdb4-f0e4-4457-95d0-b1edd3d5525c" providerId="ADAL" clId="{168D03C3-F8CD-43E5-B874-80237273F438}" dt="2022-06-17T17:26:58.368" v="3" actId="6549"/>
        <pc:sldMkLst>
          <pc:docMk/>
          <pc:sldMk cId="3240644812" sldId="2134806001"/>
        </pc:sldMkLst>
      </pc:sldChg>
      <pc:sldChg chg="modNotesTx">
        <pc:chgData name="Luciano Moreira" userId="81b8fdb4-f0e4-4457-95d0-b1edd3d5525c" providerId="ADAL" clId="{168D03C3-F8CD-43E5-B874-80237273F438}" dt="2022-06-17T17:27:27.501" v="9" actId="20577"/>
        <pc:sldMkLst>
          <pc:docMk/>
          <pc:sldMk cId="2431861251" sldId="2134806003"/>
        </pc:sldMkLst>
      </pc:sldChg>
      <pc:sldChg chg="del">
        <pc:chgData name="Luciano Moreira" userId="81b8fdb4-f0e4-4457-95d0-b1edd3d5525c" providerId="ADAL" clId="{168D03C3-F8CD-43E5-B874-80237273F438}" dt="2022-06-17T17:28:17.755" v="17" actId="47"/>
        <pc:sldMkLst>
          <pc:docMk/>
          <pc:sldMk cId="3068069466" sldId="2134806009"/>
        </pc:sldMkLst>
      </pc:sldChg>
      <pc:sldChg chg="del">
        <pc:chgData name="Luciano Moreira" userId="81b8fdb4-f0e4-4457-95d0-b1edd3d5525c" providerId="ADAL" clId="{168D03C3-F8CD-43E5-B874-80237273F438}" dt="2022-06-17T17:28:16.309" v="16" actId="47"/>
        <pc:sldMkLst>
          <pc:docMk/>
          <pc:sldMk cId="2586388437" sldId="2134806010"/>
        </pc:sldMkLst>
      </pc:sldChg>
    </pc:docChg>
  </pc:docChgLst>
  <pc:docChgLst>
    <pc:chgData name="Luciano Moreira" userId="81b8fdb4-f0e4-4457-95d0-b1edd3d5525c" providerId="ADAL" clId="{2048BDE3-D3FD-4525-B042-C91667E1C1D6}"/>
    <pc:docChg chg="undo custSel addSld delSld modSld sldOrd addSection modSection">
      <pc:chgData name="Luciano Moreira" userId="81b8fdb4-f0e4-4457-95d0-b1edd3d5525c" providerId="ADAL" clId="{2048BDE3-D3FD-4525-B042-C91667E1C1D6}" dt="2022-04-15T14:42:51.412" v="705" actId="729"/>
      <pc:docMkLst>
        <pc:docMk/>
      </pc:docMkLst>
      <pc:sldChg chg="addSp delSp modSp mod modAnim">
        <pc:chgData name="Luciano Moreira" userId="81b8fdb4-f0e4-4457-95d0-b1edd3d5525c" providerId="ADAL" clId="{2048BDE3-D3FD-4525-B042-C91667E1C1D6}" dt="2022-04-13T19:48:39.117" v="203"/>
        <pc:sldMkLst>
          <pc:docMk/>
          <pc:sldMk cId="3967767097" sldId="268"/>
        </pc:sldMkLst>
        <pc:spChg chg="add mod">
          <ac:chgData name="Luciano Moreira" userId="81b8fdb4-f0e4-4457-95d0-b1edd3d5525c" providerId="ADAL" clId="{2048BDE3-D3FD-4525-B042-C91667E1C1D6}" dt="2022-04-13T19:35:52.208" v="184" actId="1076"/>
          <ac:spMkLst>
            <pc:docMk/>
            <pc:sldMk cId="3967767097" sldId="268"/>
            <ac:spMk id="32" creationId="{EABA3131-148E-9A9F-E368-87164E96B4B9}"/>
          </ac:spMkLst>
        </pc:spChg>
        <pc:spChg chg="add del mod">
          <ac:chgData name="Luciano Moreira" userId="81b8fdb4-f0e4-4457-95d0-b1edd3d5525c" providerId="ADAL" clId="{2048BDE3-D3FD-4525-B042-C91667E1C1D6}" dt="2022-04-13T19:34:33.918" v="139"/>
          <ac:spMkLst>
            <pc:docMk/>
            <pc:sldMk cId="3967767097" sldId="268"/>
            <ac:spMk id="36" creationId="{9C220DD0-8560-557F-C920-E19D620ECBAE}"/>
          </ac:spMkLst>
        </pc:spChg>
        <pc:cxnChg chg="add mod">
          <ac:chgData name="Luciano Moreira" userId="81b8fdb4-f0e4-4457-95d0-b1edd3d5525c" providerId="ADAL" clId="{2048BDE3-D3FD-4525-B042-C91667E1C1D6}" dt="2022-04-13T19:47:49.528" v="197" actId="14100"/>
          <ac:cxnSpMkLst>
            <pc:docMk/>
            <pc:sldMk cId="3967767097" sldId="268"/>
            <ac:cxnSpMk id="2" creationId="{12048407-D3E3-D388-3C74-54DE1200199B}"/>
          </ac:cxnSpMkLst>
        </pc:cxnChg>
      </pc:sldChg>
      <pc:sldChg chg="modNotesTx">
        <pc:chgData name="Luciano Moreira" userId="81b8fdb4-f0e4-4457-95d0-b1edd3d5525c" providerId="ADAL" clId="{2048BDE3-D3FD-4525-B042-C91667E1C1D6}" dt="2022-04-15T13:13:29.511" v="698" actId="20577"/>
        <pc:sldMkLst>
          <pc:docMk/>
          <pc:sldMk cId="4005972839" sldId="2134805934"/>
        </pc:sldMkLst>
      </pc:sldChg>
      <pc:sldChg chg="modSp mod">
        <pc:chgData name="Luciano Moreira" userId="81b8fdb4-f0e4-4457-95d0-b1edd3d5525c" providerId="ADAL" clId="{2048BDE3-D3FD-4525-B042-C91667E1C1D6}" dt="2022-04-14T16:05:16.250" v="435" actId="6549"/>
        <pc:sldMkLst>
          <pc:docMk/>
          <pc:sldMk cId="1785583506" sldId="2134805961"/>
        </pc:sldMkLst>
        <pc:spChg chg="mod">
          <ac:chgData name="Luciano Moreira" userId="81b8fdb4-f0e4-4457-95d0-b1edd3d5525c" providerId="ADAL" clId="{2048BDE3-D3FD-4525-B042-C91667E1C1D6}" dt="2022-04-14T16:05:16.250" v="435" actId="6549"/>
          <ac:spMkLst>
            <pc:docMk/>
            <pc:sldMk cId="1785583506" sldId="2134805961"/>
            <ac:spMk id="2" creationId="{50FBF2B3-AC2D-4473-873E-74425D0F96BF}"/>
          </ac:spMkLst>
        </pc:spChg>
      </pc:sldChg>
      <pc:sldChg chg="modSp mod">
        <pc:chgData name="Luciano Moreira" userId="81b8fdb4-f0e4-4457-95d0-b1edd3d5525c" providerId="ADAL" clId="{2048BDE3-D3FD-4525-B042-C91667E1C1D6}" dt="2022-04-13T19:52:43.244" v="219" actId="20577"/>
        <pc:sldMkLst>
          <pc:docMk/>
          <pc:sldMk cId="1556619932" sldId="2134805962"/>
        </pc:sldMkLst>
        <pc:spChg chg="mod">
          <ac:chgData name="Luciano Moreira" userId="81b8fdb4-f0e4-4457-95d0-b1edd3d5525c" providerId="ADAL" clId="{2048BDE3-D3FD-4525-B042-C91667E1C1D6}" dt="2022-04-13T19:52:43.244" v="219" actId="20577"/>
          <ac:spMkLst>
            <pc:docMk/>
            <pc:sldMk cId="1556619932" sldId="2134805962"/>
            <ac:spMk id="2" creationId="{D6A5376F-A0DD-4803-B586-4ABB49308E71}"/>
          </ac:spMkLst>
        </pc:spChg>
      </pc:sldChg>
      <pc:sldChg chg="del mod modShow">
        <pc:chgData name="Luciano Moreira" userId="81b8fdb4-f0e4-4457-95d0-b1edd3d5525c" providerId="ADAL" clId="{2048BDE3-D3FD-4525-B042-C91667E1C1D6}" dt="2022-04-13T19:46:50.184" v="192" actId="47"/>
        <pc:sldMkLst>
          <pc:docMk/>
          <pc:sldMk cId="4108420390" sldId="2134805966"/>
        </pc:sldMkLst>
      </pc:sldChg>
      <pc:sldChg chg="del">
        <pc:chgData name="Luciano Moreira" userId="81b8fdb4-f0e4-4457-95d0-b1edd3d5525c" providerId="ADAL" clId="{2048BDE3-D3FD-4525-B042-C91667E1C1D6}" dt="2022-04-14T16:07:35.498" v="453" actId="2696"/>
        <pc:sldMkLst>
          <pc:docMk/>
          <pc:sldMk cId="1900988289" sldId="2134805967"/>
        </pc:sldMkLst>
      </pc:sldChg>
      <pc:sldChg chg="add">
        <pc:chgData name="Luciano Moreira" userId="81b8fdb4-f0e4-4457-95d0-b1edd3d5525c" providerId="ADAL" clId="{2048BDE3-D3FD-4525-B042-C91667E1C1D6}" dt="2022-04-14T16:07:38.477" v="454"/>
        <pc:sldMkLst>
          <pc:docMk/>
          <pc:sldMk cId="3011992322" sldId="2134805967"/>
        </pc:sldMkLst>
      </pc:sldChg>
      <pc:sldChg chg="add">
        <pc:chgData name="Luciano Moreira" userId="81b8fdb4-f0e4-4457-95d0-b1edd3d5525c" providerId="ADAL" clId="{2048BDE3-D3FD-4525-B042-C91667E1C1D6}" dt="2022-04-14T16:07:38.477" v="454"/>
        <pc:sldMkLst>
          <pc:docMk/>
          <pc:sldMk cId="2103632534" sldId="2134805969"/>
        </pc:sldMkLst>
      </pc:sldChg>
      <pc:sldChg chg="del">
        <pc:chgData name="Luciano Moreira" userId="81b8fdb4-f0e4-4457-95d0-b1edd3d5525c" providerId="ADAL" clId="{2048BDE3-D3FD-4525-B042-C91667E1C1D6}" dt="2022-04-14T16:07:35.498" v="453" actId="2696"/>
        <pc:sldMkLst>
          <pc:docMk/>
          <pc:sldMk cId="2689382057" sldId="2134805969"/>
        </pc:sldMkLst>
      </pc:sldChg>
      <pc:sldChg chg="addSp delSp modSp mod">
        <pc:chgData name="Luciano Moreira" userId="81b8fdb4-f0e4-4457-95d0-b1edd3d5525c" providerId="ADAL" clId="{2048BDE3-D3FD-4525-B042-C91667E1C1D6}" dt="2022-04-13T19:30:02.192" v="13" actId="22"/>
        <pc:sldMkLst>
          <pc:docMk/>
          <pc:sldMk cId="3832702447" sldId="2134805972"/>
        </pc:sldMkLst>
        <pc:spChg chg="add mod">
          <ac:chgData name="Luciano Moreira" userId="81b8fdb4-f0e4-4457-95d0-b1edd3d5525c" providerId="ADAL" clId="{2048BDE3-D3FD-4525-B042-C91667E1C1D6}" dt="2022-04-13T19:29:45.171" v="11" actId="403"/>
          <ac:spMkLst>
            <pc:docMk/>
            <pc:sldMk cId="3832702447" sldId="2134805972"/>
            <ac:spMk id="6" creationId="{AEB1A176-4F22-0759-8AD6-11F74C66FE6C}"/>
          </ac:spMkLst>
        </pc:spChg>
        <pc:spChg chg="add del">
          <ac:chgData name="Luciano Moreira" userId="81b8fdb4-f0e4-4457-95d0-b1edd3d5525c" providerId="ADAL" clId="{2048BDE3-D3FD-4525-B042-C91667E1C1D6}" dt="2022-04-13T19:30:02.192" v="13" actId="22"/>
          <ac:spMkLst>
            <pc:docMk/>
            <pc:sldMk cId="3832702447" sldId="2134805972"/>
            <ac:spMk id="8" creationId="{8C1359C7-8B8F-8174-1527-3DF76E7B9E6F}"/>
          </ac:spMkLst>
        </pc:spChg>
      </pc:sldChg>
      <pc:sldChg chg="addSp mod">
        <pc:chgData name="Luciano Moreira" userId="81b8fdb4-f0e4-4457-95d0-b1edd3d5525c" providerId="ADAL" clId="{2048BDE3-D3FD-4525-B042-C91667E1C1D6}" dt="2022-04-13T19:30:03.455" v="14" actId="22"/>
        <pc:sldMkLst>
          <pc:docMk/>
          <pc:sldMk cId="3236744545" sldId="2134805973"/>
        </pc:sldMkLst>
        <pc:spChg chg="add">
          <ac:chgData name="Luciano Moreira" userId="81b8fdb4-f0e4-4457-95d0-b1edd3d5525c" providerId="ADAL" clId="{2048BDE3-D3FD-4525-B042-C91667E1C1D6}" dt="2022-04-13T19:30:03.455" v="14" actId="22"/>
          <ac:spMkLst>
            <pc:docMk/>
            <pc:sldMk cId="3236744545" sldId="2134805973"/>
            <ac:spMk id="6" creationId="{BB99120F-114E-78AF-04FB-92FC77F54A23}"/>
          </ac:spMkLst>
        </pc:spChg>
      </pc:sldChg>
      <pc:sldChg chg="addSp delSp modSp mod delAnim">
        <pc:chgData name="Luciano Moreira" userId="81b8fdb4-f0e4-4457-95d0-b1edd3d5525c" providerId="ADAL" clId="{2048BDE3-D3FD-4525-B042-C91667E1C1D6}" dt="2022-04-13T19:30:14.021" v="17" actId="478"/>
        <pc:sldMkLst>
          <pc:docMk/>
          <pc:sldMk cId="1183713708" sldId="2134805974"/>
        </pc:sldMkLst>
        <pc:spChg chg="add mod">
          <ac:chgData name="Luciano Moreira" userId="81b8fdb4-f0e4-4457-95d0-b1edd3d5525c" providerId="ADAL" clId="{2048BDE3-D3FD-4525-B042-C91667E1C1D6}" dt="2022-04-13T19:30:09.515" v="16" actId="1076"/>
          <ac:spMkLst>
            <pc:docMk/>
            <pc:sldMk cId="1183713708" sldId="2134805974"/>
            <ac:spMk id="2" creationId="{A39D02BA-1324-8825-B956-B276D1EFFA96}"/>
          </ac:spMkLst>
        </pc:spChg>
        <pc:spChg chg="del">
          <ac:chgData name="Luciano Moreira" userId="81b8fdb4-f0e4-4457-95d0-b1edd3d5525c" providerId="ADAL" clId="{2048BDE3-D3FD-4525-B042-C91667E1C1D6}" dt="2022-04-13T19:30:14.021" v="17" actId="478"/>
          <ac:spMkLst>
            <pc:docMk/>
            <pc:sldMk cId="1183713708" sldId="2134805974"/>
            <ac:spMk id="52" creationId="{EAF8DAD7-E02E-4C03-988A-5CCED5D5C004}"/>
          </ac:spMkLst>
        </pc:spChg>
      </pc:sldChg>
      <pc:sldChg chg="modSp mod ord modShow">
        <pc:chgData name="Luciano Moreira" userId="81b8fdb4-f0e4-4457-95d0-b1edd3d5525c" providerId="ADAL" clId="{2048BDE3-D3FD-4525-B042-C91667E1C1D6}" dt="2022-04-15T14:42:51.412" v="705" actId="729"/>
        <pc:sldMkLst>
          <pc:docMk/>
          <pc:sldMk cId="1619479186" sldId="2134805975"/>
        </pc:sldMkLst>
        <pc:spChg chg="mod">
          <ac:chgData name="Luciano Moreira" userId="81b8fdb4-f0e4-4457-95d0-b1edd3d5525c" providerId="ADAL" clId="{2048BDE3-D3FD-4525-B042-C91667E1C1D6}" dt="2022-04-13T21:23:17.540" v="324" actId="20577"/>
          <ac:spMkLst>
            <pc:docMk/>
            <pc:sldMk cId="1619479186" sldId="2134805975"/>
            <ac:spMk id="3" creationId="{7F7BA38C-0B4E-42CA-9731-232C90993BE3}"/>
          </ac:spMkLst>
        </pc:spChg>
      </pc:sldChg>
      <pc:sldChg chg="mod modShow">
        <pc:chgData name="Luciano Moreira" userId="81b8fdb4-f0e4-4457-95d0-b1edd3d5525c" providerId="ADAL" clId="{2048BDE3-D3FD-4525-B042-C91667E1C1D6}" dt="2022-04-13T21:22:47.642" v="261" actId="729"/>
        <pc:sldMkLst>
          <pc:docMk/>
          <pc:sldMk cId="3349035450" sldId="2134805978"/>
        </pc:sldMkLst>
      </pc:sldChg>
      <pc:sldChg chg="del ord">
        <pc:chgData name="Luciano Moreira" userId="81b8fdb4-f0e4-4457-95d0-b1edd3d5525c" providerId="ADAL" clId="{2048BDE3-D3FD-4525-B042-C91667E1C1D6}" dt="2022-04-15T13:21:31.824" v="702" actId="47"/>
        <pc:sldMkLst>
          <pc:docMk/>
          <pc:sldMk cId="2465605942" sldId="2134805980"/>
        </pc:sldMkLst>
      </pc:sldChg>
      <pc:sldChg chg="ord">
        <pc:chgData name="Luciano Moreira" userId="81b8fdb4-f0e4-4457-95d0-b1edd3d5525c" providerId="ADAL" clId="{2048BDE3-D3FD-4525-B042-C91667E1C1D6}" dt="2022-04-13T19:52:25.466" v="205"/>
        <pc:sldMkLst>
          <pc:docMk/>
          <pc:sldMk cId="3079983356" sldId="2134805981"/>
        </pc:sldMkLst>
      </pc:sldChg>
      <pc:sldChg chg="delSp del mod ord delAnim modNotesTx">
        <pc:chgData name="Luciano Moreira" userId="81b8fdb4-f0e4-4457-95d0-b1edd3d5525c" providerId="ADAL" clId="{2048BDE3-D3FD-4525-B042-C91667E1C1D6}" dt="2022-04-15T13:21:31.824" v="702" actId="47"/>
        <pc:sldMkLst>
          <pc:docMk/>
          <pc:sldMk cId="1421579658" sldId="2134805983"/>
        </pc:sldMkLst>
        <pc:spChg chg="del">
          <ac:chgData name="Luciano Moreira" userId="81b8fdb4-f0e4-4457-95d0-b1edd3d5525c" providerId="ADAL" clId="{2048BDE3-D3FD-4525-B042-C91667E1C1D6}" dt="2022-04-13T19:30:34.772" v="18" actId="478"/>
          <ac:spMkLst>
            <pc:docMk/>
            <pc:sldMk cId="1421579658" sldId="2134805983"/>
            <ac:spMk id="60" creationId="{C971820E-35FC-4E8D-9EB0-5DAF8A476E75}"/>
          </ac:spMkLst>
        </pc:spChg>
      </pc:sldChg>
      <pc:sldChg chg="delSp modSp del mod ord delAnim modNotesTx">
        <pc:chgData name="Luciano Moreira" userId="81b8fdb4-f0e4-4457-95d0-b1edd3d5525c" providerId="ADAL" clId="{2048BDE3-D3FD-4525-B042-C91667E1C1D6}" dt="2022-04-15T13:21:31.824" v="702" actId="47"/>
        <pc:sldMkLst>
          <pc:docMk/>
          <pc:sldMk cId="3808096437" sldId="2134805984"/>
        </pc:sldMkLst>
        <pc:spChg chg="mod">
          <ac:chgData name="Luciano Moreira" userId="81b8fdb4-f0e4-4457-95d0-b1edd3d5525c" providerId="ADAL" clId="{2048BDE3-D3FD-4525-B042-C91667E1C1D6}" dt="2022-04-13T19:31:06.685" v="22" actId="6549"/>
          <ac:spMkLst>
            <pc:docMk/>
            <pc:sldMk cId="3808096437" sldId="2134805984"/>
            <ac:spMk id="10" creationId="{8DC1C39F-8A57-4641-81E2-285EB191EC19}"/>
          </ac:spMkLst>
        </pc:spChg>
        <pc:spChg chg="del">
          <ac:chgData name="Luciano Moreira" userId="81b8fdb4-f0e4-4457-95d0-b1edd3d5525c" providerId="ADAL" clId="{2048BDE3-D3FD-4525-B042-C91667E1C1D6}" dt="2022-04-13T19:30:57.915" v="20" actId="478"/>
          <ac:spMkLst>
            <pc:docMk/>
            <pc:sldMk cId="3808096437" sldId="2134805984"/>
            <ac:spMk id="12" creationId="{EE375F4C-2CC9-4BFC-BF95-CF643A16C842}"/>
          </ac:spMkLst>
        </pc:spChg>
      </pc:sldChg>
      <pc:sldChg chg="modSp mod modNotesTx">
        <pc:chgData name="Luciano Moreira" userId="81b8fdb4-f0e4-4457-95d0-b1edd3d5525c" providerId="ADAL" clId="{2048BDE3-D3FD-4525-B042-C91667E1C1D6}" dt="2022-04-14T16:04:13.403" v="372"/>
        <pc:sldMkLst>
          <pc:docMk/>
          <pc:sldMk cId="4057827721" sldId="2134805985"/>
        </pc:sldMkLst>
        <pc:spChg chg="mod">
          <ac:chgData name="Luciano Moreira" userId="81b8fdb4-f0e4-4457-95d0-b1edd3d5525c" providerId="ADAL" clId="{2048BDE3-D3FD-4525-B042-C91667E1C1D6}" dt="2022-04-14T16:04:12.536" v="371" actId="21"/>
          <ac:spMkLst>
            <pc:docMk/>
            <pc:sldMk cId="4057827721" sldId="2134805985"/>
            <ac:spMk id="3" creationId="{7F7BA38C-0B4E-42CA-9731-232C90993BE3}"/>
          </ac:spMkLst>
        </pc:spChg>
      </pc:sldChg>
      <pc:sldChg chg="mod modShow">
        <pc:chgData name="Luciano Moreira" userId="81b8fdb4-f0e4-4457-95d0-b1edd3d5525c" providerId="ADAL" clId="{2048BDE3-D3FD-4525-B042-C91667E1C1D6}" dt="2022-04-14T16:02:41.927" v="332" actId="729"/>
        <pc:sldMkLst>
          <pc:docMk/>
          <pc:sldMk cId="3765687255" sldId="2134805989"/>
        </pc:sldMkLst>
      </pc:sldChg>
      <pc:sldChg chg="mod modShow">
        <pc:chgData name="Luciano Moreira" userId="81b8fdb4-f0e4-4457-95d0-b1edd3d5525c" providerId="ADAL" clId="{2048BDE3-D3FD-4525-B042-C91667E1C1D6}" dt="2022-04-14T16:03:10.309" v="335" actId="729"/>
        <pc:sldMkLst>
          <pc:docMk/>
          <pc:sldMk cId="1856993424" sldId="2134805990"/>
        </pc:sldMkLst>
      </pc:sldChg>
      <pc:sldChg chg="del">
        <pc:chgData name="Luciano Moreira" userId="81b8fdb4-f0e4-4457-95d0-b1edd3d5525c" providerId="ADAL" clId="{2048BDE3-D3FD-4525-B042-C91667E1C1D6}" dt="2022-04-13T19:32:11.709" v="23" actId="47"/>
        <pc:sldMkLst>
          <pc:docMk/>
          <pc:sldMk cId="805782871" sldId="2134805992"/>
        </pc:sldMkLst>
      </pc:sldChg>
      <pc:sldChg chg="mod modShow">
        <pc:chgData name="Luciano Moreira" userId="81b8fdb4-f0e4-4457-95d0-b1edd3d5525c" providerId="ADAL" clId="{2048BDE3-D3FD-4525-B042-C91667E1C1D6}" dt="2022-04-14T16:04:22.408" v="373" actId="729"/>
        <pc:sldMkLst>
          <pc:docMk/>
          <pc:sldMk cId="1652733708" sldId="2134805993"/>
        </pc:sldMkLst>
      </pc:sldChg>
      <pc:sldChg chg="add mod modShow">
        <pc:chgData name="Luciano Moreira" userId="81b8fdb4-f0e4-4457-95d0-b1edd3d5525c" providerId="ADAL" clId="{2048BDE3-D3FD-4525-B042-C91667E1C1D6}" dt="2022-04-14T16:06:33.463" v="452" actId="729"/>
        <pc:sldMkLst>
          <pc:docMk/>
          <pc:sldMk cId="2514450869" sldId="2134805995"/>
        </pc:sldMkLst>
      </pc:sldChg>
      <pc:sldChg chg="del ord">
        <pc:chgData name="Luciano Moreira" userId="81b8fdb4-f0e4-4457-95d0-b1edd3d5525c" providerId="ADAL" clId="{2048BDE3-D3FD-4525-B042-C91667E1C1D6}" dt="2022-04-14T16:06:12.550" v="439" actId="2696"/>
        <pc:sldMkLst>
          <pc:docMk/>
          <pc:sldMk cId="3916060484" sldId="2134805995"/>
        </pc:sldMkLst>
      </pc:sldChg>
      <pc:sldChg chg="del mod modShow">
        <pc:chgData name="Luciano Moreira" userId="81b8fdb4-f0e4-4457-95d0-b1edd3d5525c" providerId="ADAL" clId="{2048BDE3-D3FD-4525-B042-C91667E1C1D6}" dt="2022-04-13T19:46:49.419" v="191" actId="47"/>
        <pc:sldMkLst>
          <pc:docMk/>
          <pc:sldMk cId="1380849894" sldId="2134805996"/>
        </pc:sldMkLst>
      </pc:sldChg>
      <pc:sldChg chg="del">
        <pc:chgData name="Luciano Moreira" userId="81b8fdb4-f0e4-4457-95d0-b1edd3d5525c" providerId="ADAL" clId="{2048BDE3-D3FD-4525-B042-C91667E1C1D6}" dt="2022-04-14T16:02:51.718" v="334" actId="47"/>
        <pc:sldMkLst>
          <pc:docMk/>
          <pc:sldMk cId="2044309654" sldId="2134805997"/>
        </pc:sldMkLst>
      </pc:sldChg>
      <pc:sldChg chg="del mod modShow">
        <pc:chgData name="Luciano Moreira" userId="81b8fdb4-f0e4-4457-95d0-b1edd3d5525c" providerId="ADAL" clId="{2048BDE3-D3FD-4525-B042-C91667E1C1D6}" dt="2022-04-14T16:07:35.498" v="453" actId="2696"/>
        <pc:sldMkLst>
          <pc:docMk/>
          <pc:sldMk cId="897533680" sldId="2134805998"/>
        </pc:sldMkLst>
      </pc:sldChg>
      <pc:sldChg chg="addSp delSp add mod modShow">
        <pc:chgData name="Luciano Moreira" userId="81b8fdb4-f0e4-4457-95d0-b1edd3d5525c" providerId="ADAL" clId="{2048BDE3-D3FD-4525-B042-C91667E1C1D6}" dt="2022-04-14T17:00:36.436" v="635" actId="22"/>
        <pc:sldMkLst>
          <pc:docMk/>
          <pc:sldMk cId="1748169315" sldId="2134805998"/>
        </pc:sldMkLst>
        <pc:picChg chg="add del">
          <ac:chgData name="Luciano Moreira" userId="81b8fdb4-f0e4-4457-95d0-b1edd3d5525c" providerId="ADAL" clId="{2048BDE3-D3FD-4525-B042-C91667E1C1D6}" dt="2022-04-14T17:00:36.436" v="635" actId="22"/>
          <ac:picMkLst>
            <pc:docMk/>
            <pc:sldMk cId="1748169315" sldId="2134805998"/>
            <ac:picMk id="3" creationId="{14FACF8E-7D20-8967-5206-D6AB0B19BED3}"/>
          </ac:picMkLst>
        </pc:picChg>
      </pc:sldChg>
      <pc:sldChg chg="del">
        <pc:chgData name="Luciano Moreira" userId="81b8fdb4-f0e4-4457-95d0-b1edd3d5525c" providerId="ADAL" clId="{2048BDE3-D3FD-4525-B042-C91667E1C1D6}" dt="2022-04-14T16:02:50.502" v="333" actId="47"/>
        <pc:sldMkLst>
          <pc:docMk/>
          <pc:sldMk cId="2733375989" sldId="2134805999"/>
        </pc:sldMkLst>
      </pc:sldChg>
      <pc:sldChg chg="del ord">
        <pc:chgData name="Luciano Moreira" userId="81b8fdb4-f0e4-4457-95d0-b1edd3d5525c" providerId="ADAL" clId="{2048BDE3-D3FD-4525-B042-C91667E1C1D6}" dt="2022-04-15T13:21:47.070" v="703" actId="47"/>
        <pc:sldMkLst>
          <pc:docMk/>
          <pc:sldMk cId="3403726279" sldId="2134806000"/>
        </pc:sldMkLst>
      </pc:sldChg>
      <pc:sldChg chg="modSp mod modShow">
        <pc:chgData name="Luciano Moreira" userId="81b8fdb4-f0e4-4457-95d0-b1edd3d5525c" providerId="ADAL" clId="{2048BDE3-D3FD-4525-B042-C91667E1C1D6}" dt="2022-04-15T14:42:39.444" v="704" actId="729"/>
        <pc:sldMkLst>
          <pc:docMk/>
          <pc:sldMk cId="3240644812" sldId="2134806001"/>
        </pc:sldMkLst>
        <pc:spChg chg="mod">
          <ac:chgData name="Luciano Moreira" userId="81b8fdb4-f0e4-4457-95d0-b1edd3d5525c" providerId="ADAL" clId="{2048BDE3-D3FD-4525-B042-C91667E1C1D6}" dt="2022-04-13T21:03:28.991" v="254" actId="20577"/>
          <ac:spMkLst>
            <pc:docMk/>
            <pc:sldMk cId="3240644812" sldId="2134806001"/>
            <ac:spMk id="11" creationId="{3ADD76B0-86FB-41B2-825A-C234E771A521}"/>
          </ac:spMkLst>
        </pc:spChg>
      </pc:sldChg>
      <pc:sldChg chg="modSp mod ord">
        <pc:chgData name="Luciano Moreira" userId="81b8fdb4-f0e4-4457-95d0-b1edd3d5525c" providerId="ADAL" clId="{2048BDE3-D3FD-4525-B042-C91667E1C1D6}" dt="2022-04-14T16:00:45.956" v="326"/>
        <pc:sldMkLst>
          <pc:docMk/>
          <pc:sldMk cId="2795861240" sldId="2134806002"/>
        </pc:sldMkLst>
        <pc:picChg chg="mod">
          <ac:chgData name="Luciano Moreira" userId="81b8fdb4-f0e4-4457-95d0-b1edd3d5525c" providerId="ADAL" clId="{2048BDE3-D3FD-4525-B042-C91667E1C1D6}" dt="2022-04-13T19:54:16.436" v="222" actId="14100"/>
          <ac:picMkLst>
            <pc:docMk/>
            <pc:sldMk cId="2795861240" sldId="2134806002"/>
            <ac:picMk id="9" creationId="{3C183A2A-D8F8-473D-9CBF-E4590C5183C0}"/>
          </ac:picMkLst>
        </pc:picChg>
      </pc:sldChg>
      <pc:sldChg chg="ord">
        <pc:chgData name="Luciano Moreira" userId="81b8fdb4-f0e4-4457-95d0-b1edd3d5525c" providerId="ADAL" clId="{2048BDE3-D3FD-4525-B042-C91667E1C1D6}" dt="2022-04-14T16:00:48.173" v="328"/>
        <pc:sldMkLst>
          <pc:docMk/>
          <pc:sldMk cId="2431861251" sldId="2134806003"/>
        </pc:sldMkLst>
      </pc:sldChg>
      <pc:sldChg chg="add mod ord modShow">
        <pc:chgData name="Luciano Moreira" userId="81b8fdb4-f0e4-4457-95d0-b1edd3d5525c" providerId="ADAL" clId="{2048BDE3-D3FD-4525-B042-C91667E1C1D6}" dt="2022-04-13T21:22:43.911" v="260" actId="729"/>
        <pc:sldMkLst>
          <pc:docMk/>
          <pc:sldMk cId="2485717638" sldId="2134806004"/>
        </pc:sldMkLst>
      </pc:sldChg>
      <pc:sldChg chg="add">
        <pc:chgData name="Luciano Moreira" userId="81b8fdb4-f0e4-4457-95d0-b1edd3d5525c" providerId="ADAL" clId="{2048BDE3-D3FD-4525-B042-C91667E1C1D6}" dt="2022-04-14T16:01:31.434" v="331"/>
        <pc:sldMkLst>
          <pc:docMk/>
          <pc:sldMk cId="2855439827" sldId="2134806005"/>
        </pc:sldMkLst>
      </pc:sldChg>
      <pc:sldChg chg="add">
        <pc:chgData name="Luciano Moreira" userId="81b8fdb4-f0e4-4457-95d0-b1edd3d5525c" providerId="ADAL" clId="{2048BDE3-D3FD-4525-B042-C91667E1C1D6}" dt="2022-04-14T16:01:31.434" v="331"/>
        <pc:sldMkLst>
          <pc:docMk/>
          <pc:sldMk cId="2889141429" sldId="2134806006"/>
        </pc:sldMkLst>
      </pc:sldChg>
      <pc:sldChg chg="add">
        <pc:chgData name="Luciano Moreira" userId="81b8fdb4-f0e4-4457-95d0-b1edd3d5525c" providerId="ADAL" clId="{2048BDE3-D3FD-4525-B042-C91667E1C1D6}" dt="2022-04-14T16:01:31.434" v="331"/>
        <pc:sldMkLst>
          <pc:docMk/>
          <pc:sldMk cId="3593289265" sldId="2134806007"/>
        </pc:sldMkLst>
      </pc:sldChg>
      <pc:sldChg chg="addSp delSp modSp add mod modAnim">
        <pc:chgData name="Luciano Moreira" userId="81b8fdb4-f0e4-4457-95d0-b1edd3d5525c" providerId="ADAL" clId="{2048BDE3-D3FD-4525-B042-C91667E1C1D6}" dt="2022-04-15T13:16:47.073" v="701" actId="208"/>
        <pc:sldMkLst>
          <pc:docMk/>
          <pc:sldMk cId="2608749364" sldId="2134806008"/>
        </pc:sldMkLst>
        <pc:spChg chg="add mod">
          <ac:chgData name="Luciano Moreira" userId="81b8fdb4-f0e4-4457-95d0-b1edd3d5525c" providerId="ADAL" clId="{2048BDE3-D3FD-4525-B042-C91667E1C1D6}" dt="2022-04-14T16:23:50.561" v="594" actId="1076"/>
          <ac:spMkLst>
            <pc:docMk/>
            <pc:sldMk cId="2608749364" sldId="2134806008"/>
            <ac:spMk id="3" creationId="{59CDE8AD-6EB9-CA9A-882A-9681FEBF1F96}"/>
          </ac:spMkLst>
        </pc:spChg>
        <pc:spChg chg="add mod">
          <ac:chgData name="Luciano Moreira" userId="81b8fdb4-f0e4-4457-95d0-b1edd3d5525c" providerId="ADAL" clId="{2048BDE3-D3FD-4525-B042-C91667E1C1D6}" dt="2022-04-14T16:22:09.194" v="568" actId="1076"/>
          <ac:spMkLst>
            <pc:docMk/>
            <pc:sldMk cId="2608749364" sldId="2134806008"/>
            <ac:spMk id="8" creationId="{73BD5459-021B-0985-1ABA-82A4F3C24724}"/>
          </ac:spMkLst>
        </pc:spChg>
        <pc:spChg chg="add mod">
          <ac:chgData name="Luciano Moreira" userId="81b8fdb4-f0e4-4457-95d0-b1edd3d5525c" providerId="ADAL" clId="{2048BDE3-D3FD-4525-B042-C91667E1C1D6}" dt="2022-04-14T16:24:31.543" v="602" actId="14100"/>
          <ac:spMkLst>
            <pc:docMk/>
            <pc:sldMk cId="2608749364" sldId="2134806008"/>
            <ac:spMk id="9" creationId="{8B0D6ECE-C871-F7E7-1605-4F1956F0D414}"/>
          </ac:spMkLst>
        </pc:spChg>
        <pc:spChg chg="mod">
          <ac:chgData name="Luciano Moreira" userId="81b8fdb4-f0e4-4457-95d0-b1edd3d5525c" providerId="ADAL" clId="{2048BDE3-D3FD-4525-B042-C91667E1C1D6}" dt="2022-04-14T16:24:57.106" v="613" actId="20577"/>
          <ac:spMkLst>
            <pc:docMk/>
            <pc:sldMk cId="2608749364" sldId="2134806008"/>
            <ac:spMk id="10" creationId="{8DC1C39F-8A57-4641-81E2-285EB191EC19}"/>
          </ac:spMkLst>
        </pc:spChg>
        <pc:spChg chg="add mod">
          <ac:chgData name="Luciano Moreira" userId="81b8fdb4-f0e4-4457-95d0-b1edd3d5525c" providerId="ADAL" clId="{2048BDE3-D3FD-4525-B042-C91667E1C1D6}" dt="2022-04-14T16:25:52.123" v="618" actId="20577"/>
          <ac:spMkLst>
            <pc:docMk/>
            <pc:sldMk cId="2608749364" sldId="2134806008"/>
            <ac:spMk id="35" creationId="{FF2C1DD5-181D-414B-09B5-1BAED856D136}"/>
          </ac:spMkLst>
        </pc:spChg>
        <pc:spChg chg="add mod">
          <ac:chgData name="Luciano Moreira" userId="81b8fdb4-f0e4-4457-95d0-b1edd3d5525c" providerId="ADAL" clId="{2048BDE3-D3FD-4525-B042-C91667E1C1D6}" dt="2022-04-14T16:26:31.903" v="623" actId="14100"/>
          <ac:spMkLst>
            <pc:docMk/>
            <pc:sldMk cId="2608749364" sldId="2134806008"/>
            <ac:spMk id="36" creationId="{F524BBFE-1D07-4A22-F1E9-68A3B60196C4}"/>
          </ac:spMkLst>
        </pc:spChg>
        <pc:spChg chg="add mod">
          <ac:chgData name="Luciano Moreira" userId="81b8fdb4-f0e4-4457-95d0-b1edd3d5525c" providerId="ADAL" clId="{2048BDE3-D3FD-4525-B042-C91667E1C1D6}" dt="2022-04-14T16:26:28.325" v="621" actId="1076"/>
          <ac:spMkLst>
            <pc:docMk/>
            <pc:sldMk cId="2608749364" sldId="2134806008"/>
            <ac:spMk id="37" creationId="{D78C90C5-D4DC-69AD-2898-5ABDB53688DE}"/>
          </ac:spMkLst>
        </pc:spChg>
        <pc:spChg chg="add mod">
          <ac:chgData name="Luciano Moreira" userId="81b8fdb4-f0e4-4457-95d0-b1edd3d5525c" providerId="ADAL" clId="{2048BDE3-D3FD-4525-B042-C91667E1C1D6}" dt="2022-04-14T16:26:36.861" v="624" actId="14100"/>
          <ac:spMkLst>
            <pc:docMk/>
            <pc:sldMk cId="2608749364" sldId="2134806008"/>
            <ac:spMk id="38" creationId="{45BC1F91-268B-ABE4-F9D5-C492A9C02CB1}"/>
          </ac:spMkLst>
        </pc:spChg>
        <pc:spChg chg="del">
          <ac:chgData name="Luciano Moreira" userId="81b8fdb4-f0e4-4457-95d0-b1edd3d5525c" providerId="ADAL" clId="{2048BDE3-D3FD-4525-B042-C91667E1C1D6}" dt="2022-04-14T16:21:53.676" v="549" actId="478"/>
          <ac:spMkLst>
            <pc:docMk/>
            <pc:sldMk cId="2608749364" sldId="2134806008"/>
            <ac:spMk id="43" creationId="{C297AFA7-93BF-4967-BDB2-DD33905427A6}"/>
          </ac:spMkLst>
        </pc:spChg>
        <pc:spChg chg="del">
          <ac:chgData name="Luciano Moreira" userId="81b8fdb4-f0e4-4457-95d0-b1edd3d5525c" providerId="ADAL" clId="{2048BDE3-D3FD-4525-B042-C91667E1C1D6}" dt="2022-04-14T16:21:53.676" v="549" actId="478"/>
          <ac:spMkLst>
            <pc:docMk/>
            <pc:sldMk cId="2608749364" sldId="2134806008"/>
            <ac:spMk id="57" creationId="{1C6AF795-0B4D-4070-86F0-A3785AB24106}"/>
          </ac:spMkLst>
        </pc:spChg>
        <pc:spChg chg="del mod">
          <ac:chgData name="Luciano Moreira" userId="81b8fdb4-f0e4-4457-95d0-b1edd3d5525c" providerId="ADAL" clId="{2048BDE3-D3FD-4525-B042-C91667E1C1D6}" dt="2022-04-14T16:21:50.638" v="548" actId="478"/>
          <ac:spMkLst>
            <pc:docMk/>
            <pc:sldMk cId="2608749364" sldId="2134806008"/>
            <ac:spMk id="59" creationId="{21E40231-F3C0-447A-AFC0-623056652003}"/>
          </ac:spMkLst>
        </pc:spChg>
        <pc:spChg chg="del">
          <ac:chgData name="Luciano Moreira" userId="81b8fdb4-f0e4-4457-95d0-b1edd3d5525c" providerId="ADAL" clId="{2048BDE3-D3FD-4525-B042-C91667E1C1D6}" dt="2022-04-14T16:21:50.638" v="548" actId="478"/>
          <ac:spMkLst>
            <pc:docMk/>
            <pc:sldMk cId="2608749364" sldId="2134806008"/>
            <ac:spMk id="61" creationId="{02495E9B-0117-4D57-B8DA-AAF348677163}"/>
          </ac:spMkLst>
        </pc:spChg>
        <pc:cxnChg chg="mod">
          <ac:chgData name="Luciano Moreira" userId="81b8fdb4-f0e4-4457-95d0-b1edd3d5525c" providerId="ADAL" clId="{2048BDE3-D3FD-4525-B042-C91667E1C1D6}" dt="2022-04-15T13:16:32.325" v="699" actId="208"/>
          <ac:cxnSpMkLst>
            <pc:docMk/>
            <pc:sldMk cId="2608749364" sldId="2134806008"/>
            <ac:cxnSpMk id="4" creationId="{AD74D346-8685-4CEE-8640-7BC962943F0E}"/>
          </ac:cxnSpMkLst>
        </pc:cxnChg>
        <pc:cxnChg chg="mod">
          <ac:chgData name="Luciano Moreira" userId="81b8fdb4-f0e4-4457-95d0-b1edd3d5525c" providerId="ADAL" clId="{2048BDE3-D3FD-4525-B042-C91667E1C1D6}" dt="2022-04-15T13:16:32.325" v="699" actId="208"/>
          <ac:cxnSpMkLst>
            <pc:docMk/>
            <pc:sldMk cId="2608749364" sldId="2134806008"/>
            <ac:cxnSpMk id="5" creationId="{01566E56-2DA1-4F7D-85C8-239872CC0D27}"/>
          </ac:cxnSpMkLst>
        </pc:cxnChg>
        <pc:cxnChg chg="mod">
          <ac:chgData name="Luciano Moreira" userId="81b8fdb4-f0e4-4457-95d0-b1edd3d5525c" providerId="ADAL" clId="{2048BDE3-D3FD-4525-B042-C91667E1C1D6}" dt="2022-04-15T13:16:32.325" v="699" actId="208"/>
          <ac:cxnSpMkLst>
            <pc:docMk/>
            <pc:sldMk cId="2608749364" sldId="2134806008"/>
            <ac:cxnSpMk id="6" creationId="{6F54AB55-A147-4FAC-B59E-A8B33EEE3A1F}"/>
          </ac:cxnSpMkLst>
        </pc:cxnChg>
        <pc:cxnChg chg="mod">
          <ac:chgData name="Luciano Moreira" userId="81b8fdb4-f0e4-4457-95d0-b1edd3d5525c" providerId="ADAL" clId="{2048BDE3-D3FD-4525-B042-C91667E1C1D6}" dt="2022-04-15T13:16:32.325" v="699" actId="208"/>
          <ac:cxnSpMkLst>
            <pc:docMk/>
            <pc:sldMk cId="2608749364" sldId="2134806008"/>
            <ac:cxnSpMk id="27" creationId="{DD2CD7A2-A8C6-460E-8CD6-67D4DAA3D0D5}"/>
          </ac:cxnSpMkLst>
        </pc:cxnChg>
        <pc:cxnChg chg="mod">
          <ac:chgData name="Luciano Moreira" userId="81b8fdb4-f0e4-4457-95d0-b1edd3d5525c" providerId="ADAL" clId="{2048BDE3-D3FD-4525-B042-C91667E1C1D6}" dt="2022-04-15T13:16:32.325" v="699" actId="208"/>
          <ac:cxnSpMkLst>
            <pc:docMk/>
            <pc:sldMk cId="2608749364" sldId="2134806008"/>
            <ac:cxnSpMk id="30" creationId="{E4352FD4-73EB-4C7A-85BA-BACC0FFDD359}"/>
          </ac:cxnSpMkLst>
        </pc:cxnChg>
        <pc:cxnChg chg="mod">
          <ac:chgData name="Luciano Moreira" userId="81b8fdb4-f0e4-4457-95d0-b1edd3d5525c" providerId="ADAL" clId="{2048BDE3-D3FD-4525-B042-C91667E1C1D6}" dt="2022-04-15T13:16:32.325" v="699" actId="208"/>
          <ac:cxnSpMkLst>
            <pc:docMk/>
            <pc:sldMk cId="2608749364" sldId="2134806008"/>
            <ac:cxnSpMk id="31" creationId="{C0B7CB7E-B48B-4363-B817-7D86BC14F079}"/>
          </ac:cxnSpMkLst>
        </pc:cxnChg>
        <pc:cxnChg chg="add mod">
          <ac:chgData name="Luciano Moreira" userId="81b8fdb4-f0e4-4457-95d0-b1edd3d5525c" providerId="ADAL" clId="{2048BDE3-D3FD-4525-B042-C91667E1C1D6}" dt="2022-04-15T13:16:40.325" v="700" actId="208"/>
          <ac:cxnSpMkLst>
            <pc:docMk/>
            <pc:sldMk cId="2608749364" sldId="2134806008"/>
            <ac:cxnSpMk id="39" creationId="{574392A2-C32C-BCC7-3146-1ACCDA8C4BEB}"/>
          </ac:cxnSpMkLst>
        </pc:cxnChg>
        <pc:cxnChg chg="add mod">
          <ac:chgData name="Luciano Moreira" userId="81b8fdb4-f0e4-4457-95d0-b1edd3d5525c" providerId="ADAL" clId="{2048BDE3-D3FD-4525-B042-C91667E1C1D6}" dt="2022-04-15T13:16:47.073" v="701" actId="208"/>
          <ac:cxnSpMkLst>
            <pc:docMk/>
            <pc:sldMk cId="2608749364" sldId="2134806008"/>
            <ac:cxnSpMk id="40" creationId="{02E80529-8E19-46C2-B17A-1160BF1FB6C5}"/>
          </ac:cxnSpMkLst>
        </pc:cxnChg>
        <pc:cxnChg chg="mod">
          <ac:chgData name="Luciano Moreira" userId="81b8fdb4-f0e4-4457-95d0-b1edd3d5525c" providerId="ADAL" clId="{2048BDE3-D3FD-4525-B042-C91667E1C1D6}" dt="2022-04-15T13:16:32.325" v="699" actId="208"/>
          <ac:cxnSpMkLst>
            <pc:docMk/>
            <pc:sldMk cId="2608749364" sldId="2134806008"/>
            <ac:cxnSpMk id="88" creationId="{87853C80-601C-4B4D-B794-CD787D93A0F3}"/>
          </ac:cxnSpMkLst>
        </pc:cxnChg>
      </pc:sldChg>
      <pc:sldChg chg="add mod modShow">
        <pc:chgData name="Luciano Moreira" userId="81b8fdb4-f0e4-4457-95d0-b1edd3d5525c" providerId="ADAL" clId="{2048BDE3-D3FD-4525-B042-C91667E1C1D6}" dt="2022-04-14T16:06:33.463" v="452" actId="729"/>
        <pc:sldMkLst>
          <pc:docMk/>
          <pc:sldMk cId="3068069466" sldId="2134806009"/>
        </pc:sldMkLst>
      </pc:sldChg>
      <pc:sldChg chg="add mod modShow">
        <pc:chgData name="Luciano Moreira" userId="81b8fdb4-f0e4-4457-95d0-b1edd3d5525c" providerId="ADAL" clId="{2048BDE3-D3FD-4525-B042-C91667E1C1D6}" dt="2022-04-14T16:06:33.463" v="452" actId="729"/>
        <pc:sldMkLst>
          <pc:docMk/>
          <pc:sldMk cId="2586388437" sldId="2134806010"/>
        </pc:sldMkLst>
      </pc:sldChg>
      <pc:sldChg chg="addSp delSp modSp add mod">
        <pc:chgData name="Luciano Moreira" userId="81b8fdb4-f0e4-4457-95d0-b1edd3d5525c" providerId="ADAL" clId="{2048BDE3-D3FD-4525-B042-C91667E1C1D6}" dt="2022-04-14T16:06:25.021" v="450" actId="20577"/>
        <pc:sldMkLst>
          <pc:docMk/>
          <pc:sldMk cId="3450424218" sldId="2134806011"/>
        </pc:sldMkLst>
        <pc:spChg chg="del">
          <ac:chgData name="Luciano Moreira" userId="81b8fdb4-f0e4-4457-95d0-b1edd3d5525c" providerId="ADAL" clId="{2048BDE3-D3FD-4525-B042-C91667E1C1D6}" dt="2022-04-14T16:06:22.209" v="442" actId="478"/>
          <ac:spMkLst>
            <pc:docMk/>
            <pc:sldMk cId="3450424218" sldId="2134806011"/>
            <ac:spMk id="2" creationId="{50FBF2B3-AC2D-4473-873E-74425D0F96BF}"/>
          </ac:spMkLst>
        </pc:spChg>
        <pc:spChg chg="add mod">
          <ac:chgData name="Luciano Moreira" userId="81b8fdb4-f0e4-4457-95d0-b1edd3d5525c" providerId="ADAL" clId="{2048BDE3-D3FD-4525-B042-C91667E1C1D6}" dt="2022-04-14T16:06:25.021" v="450" actId="20577"/>
          <ac:spMkLst>
            <pc:docMk/>
            <pc:sldMk cId="3450424218" sldId="2134806011"/>
            <ac:spMk id="4" creationId="{6F92A992-932A-4974-4C28-46DD55091B45}"/>
          </ac:spMkLst>
        </pc:spChg>
      </pc:sldChg>
      <pc:sldChg chg="addSp delSp modSp add mod delAnim modAnim modNotesTx">
        <pc:chgData name="Luciano Moreira" userId="81b8fdb4-f0e4-4457-95d0-b1edd3d5525c" providerId="ADAL" clId="{2048BDE3-D3FD-4525-B042-C91667E1C1D6}" dt="2022-04-14T16:14:27.446" v="540"/>
        <pc:sldMkLst>
          <pc:docMk/>
          <pc:sldMk cId="2390457103" sldId="2134806012"/>
        </pc:sldMkLst>
        <pc:spChg chg="add mod ord">
          <ac:chgData name="Luciano Moreira" userId="81b8fdb4-f0e4-4457-95d0-b1edd3d5525c" providerId="ADAL" clId="{2048BDE3-D3FD-4525-B042-C91667E1C1D6}" dt="2022-04-14T16:14:13.707" v="539" actId="166"/>
          <ac:spMkLst>
            <pc:docMk/>
            <pc:sldMk cId="2390457103" sldId="2134806012"/>
            <ac:spMk id="7" creationId="{0A9B0B5B-CCAD-F7AD-37CA-5E6A49133B22}"/>
          </ac:spMkLst>
        </pc:spChg>
        <pc:spChg chg="add mod ord">
          <ac:chgData name="Luciano Moreira" userId="81b8fdb4-f0e4-4457-95d0-b1edd3d5525c" providerId="ADAL" clId="{2048BDE3-D3FD-4525-B042-C91667E1C1D6}" dt="2022-04-14T16:14:13.707" v="539" actId="166"/>
          <ac:spMkLst>
            <pc:docMk/>
            <pc:sldMk cId="2390457103" sldId="2134806012"/>
            <ac:spMk id="8" creationId="{FB5B3BBF-F693-CF6E-2AC7-B7927C4427BD}"/>
          </ac:spMkLst>
        </pc:spChg>
        <pc:spChg chg="add del mod">
          <ac:chgData name="Luciano Moreira" userId="81b8fdb4-f0e4-4457-95d0-b1edd3d5525c" providerId="ADAL" clId="{2048BDE3-D3FD-4525-B042-C91667E1C1D6}" dt="2022-04-14T16:12:43.151" v="522" actId="478"/>
          <ac:spMkLst>
            <pc:docMk/>
            <pc:sldMk cId="2390457103" sldId="2134806012"/>
            <ac:spMk id="9" creationId="{6DC7AD7A-1B00-3FA5-22D8-3558BCC1E4A1}"/>
          </ac:spMkLst>
        </pc:spChg>
        <pc:spChg chg="add mod ord">
          <ac:chgData name="Luciano Moreira" userId="81b8fdb4-f0e4-4457-95d0-b1edd3d5525c" providerId="ADAL" clId="{2048BDE3-D3FD-4525-B042-C91667E1C1D6}" dt="2022-04-14T16:14:13.707" v="539" actId="166"/>
          <ac:spMkLst>
            <pc:docMk/>
            <pc:sldMk cId="2390457103" sldId="2134806012"/>
            <ac:spMk id="10" creationId="{15BEBA33-8A2F-73DA-9DBB-979FBB26A8C1}"/>
          </ac:spMkLst>
        </pc:spChg>
        <pc:spChg chg="add mod ord">
          <ac:chgData name="Luciano Moreira" userId="81b8fdb4-f0e4-4457-95d0-b1edd3d5525c" providerId="ADAL" clId="{2048BDE3-D3FD-4525-B042-C91667E1C1D6}" dt="2022-04-14T16:14:13.707" v="539" actId="166"/>
          <ac:spMkLst>
            <pc:docMk/>
            <pc:sldMk cId="2390457103" sldId="2134806012"/>
            <ac:spMk id="11" creationId="{CF6472C1-8197-BBD1-B5B9-085639310485}"/>
          </ac:spMkLst>
        </pc:spChg>
        <pc:spChg chg="add mod ord">
          <ac:chgData name="Luciano Moreira" userId="81b8fdb4-f0e4-4457-95d0-b1edd3d5525c" providerId="ADAL" clId="{2048BDE3-D3FD-4525-B042-C91667E1C1D6}" dt="2022-04-14T16:14:13.707" v="539" actId="166"/>
          <ac:spMkLst>
            <pc:docMk/>
            <pc:sldMk cId="2390457103" sldId="2134806012"/>
            <ac:spMk id="12" creationId="{953E96AD-07CB-0BDB-03C1-5768D0F6FA8B}"/>
          </ac:spMkLst>
        </pc:spChg>
        <pc:spChg chg="add mod ord">
          <ac:chgData name="Luciano Moreira" userId="81b8fdb4-f0e4-4457-95d0-b1edd3d5525c" providerId="ADAL" clId="{2048BDE3-D3FD-4525-B042-C91667E1C1D6}" dt="2022-04-14T16:14:13.707" v="539" actId="166"/>
          <ac:spMkLst>
            <pc:docMk/>
            <pc:sldMk cId="2390457103" sldId="2134806012"/>
            <ac:spMk id="13" creationId="{510208BF-B22B-6C86-F37A-0EB21609612E}"/>
          </ac:spMkLst>
        </pc:spChg>
        <pc:spChg chg="mod">
          <ac:chgData name="Luciano Moreira" userId="81b8fdb4-f0e4-4457-95d0-b1edd3d5525c" providerId="ADAL" clId="{2048BDE3-D3FD-4525-B042-C91667E1C1D6}" dt="2022-04-14T16:08:57.731" v="467" actId="20577"/>
          <ac:spMkLst>
            <pc:docMk/>
            <pc:sldMk cId="2390457103" sldId="2134806012"/>
            <ac:spMk id="18" creationId="{00000000-0000-0000-0000-000000000000}"/>
          </ac:spMkLst>
        </pc:spChg>
        <pc:spChg chg="mod">
          <ac:chgData name="Luciano Moreira" userId="81b8fdb4-f0e4-4457-95d0-b1edd3d5525c" providerId="ADAL" clId="{2048BDE3-D3FD-4525-B042-C91667E1C1D6}" dt="2022-04-14T16:09:23.950" v="470" actId="1076"/>
          <ac:spMkLst>
            <pc:docMk/>
            <pc:sldMk cId="2390457103" sldId="2134806012"/>
            <ac:spMk id="19" creationId="{FF6FA096-2E87-414F-BE78-401861A57550}"/>
          </ac:spMkLst>
        </pc:spChg>
        <pc:spChg chg="mod ord">
          <ac:chgData name="Luciano Moreira" userId="81b8fdb4-f0e4-4457-95d0-b1edd3d5525c" providerId="ADAL" clId="{2048BDE3-D3FD-4525-B042-C91667E1C1D6}" dt="2022-04-14T16:14:13.707" v="539" actId="166"/>
          <ac:spMkLst>
            <pc:docMk/>
            <pc:sldMk cId="2390457103" sldId="2134806012"/>
            <ac:spMk id="26" creationId="{273290DA-309D-4C0A-B968-000840071FFC}"/>
          </ac:spMkLst>
        </pc:spChg>
        <pc:spChg chg="del">
          <ac:chgData name="Luciano Moreira" userId="81b8fdb4-f0e4-4457-95d0-b1edd3d5525c" providerId="ADAL" clId="{2048BDE3-D3FD-4525-B042-C91667E1C1D6}" dt="2022-04-14T16:09:40.695" v="472" actId="478"/>
          <ac:spMkLst>
            <pc:docMk/>
            <pc:sldMk cId="2390457103" sldId="2134806012"/>
            <ac:spMk id="28" creationId="{4A1F37AA-7639-4175-9F96-ED013B084D5D}"/>
          </ac:spMkLst>
        </pc:spChg>
        <pc:spChg chg="del">
          <ac:chgData name="Luciano Moreira" userId="81b8fdb4-f0e4-4457-95d0-b1edd3d5525c" providerId="ADAL" clId="{2048BDE3-D3FD-4525-B042-C91667E1C1D6}" dt="2022-04-14T16:09:40.695" v="472" actId="478"/>
          <ac:spMkLst>
            <pc:docMk/>
            <pc:sldMk cId="2390457103" sldId="2134806012"/>
            <ac:spMk id="29" creationId="{B3911A2B-9095-4180-91D8-A0FA01EF8B4F}"/>
          </ac:spMkLst>
        </pc:spChg>
        <pc:spChg chg="del">
          <ac:chgData name="Luciano Moreira" userId="81b8fdb4-f0e4-4457-95d0-b1edd3d5525c" providerId="ADAL" clId="{2048BDE3-D3FD-4525-B042-C91667E1C1D6}" dt="2022-04-14T16:09:40.695" v="472" actId="478"/>
          <ac:spMkLst>
            <pc:docMk/>
            <pc:sldMk cId="2390457103" sldId="2134806012"/>
            <ac:spMk id="32" creationId="{2BD0A379-6FA4-44B4-8CBD-7AE98FE78F43}"/>
          </ac:spMkLst>
        </pc:spChg>
        <pc:spChg chg="del">
          <ac:chgData name="Luciano Moreira" userId="81b8fdb4-f0e4-4457-95d0-b1edd3d5525c" providerId="ADAL" clId="{2048BDE3-D3FD-4525-B042-C91667E1C1D6}" dt="2022-04-14T16:09:40.695" v="472" actId="478"/>
          <ac:spMkLst>
            <pc:docMk/>
            <pc:sldMk cId="2390457103" sldId="2134806012"/>
            <ac:spMk id="43" creationId="{C297AFA7-93BF-4967-BDB2-DD33905427A6}"/>
          </ac:spMkLst>
        </pc:spChg>
        <pc:spChg chg="add mod">
          <ac:chgData name="Luciano Moreira" userId="81b8fdb4-f0e4-4457-95d0-b1edd3d5525c" providerId="ADAL" clId="{2048BDE3-D3FD-4525-B042-C91667E1C1D6}" dt="2022-04-14T16:10:35.281" v="497" actId="20577"/>
          <ac:spMkLst>
            <pc:docMk/>
            <pc:sldMk cId="2390457103" sldId="2134806012"/>
            <ac:spMk id="44" creationId="{9C701077-6970-92B4-569B-C48FDC4A8119}"/>
          </ac:spMkLst>
        </pc:spChg>
        <pc:spChg chg="del">
          <ac:chgData name="Luciano Moreira" userId="81b8fdb4-f0e4-4457-95d0-b1edd3d5525c" providerId="ADAL" clId="{2048BDE3-D3FD-4525-B042-C91667E1C1D6}" dt="2022-04-14T16:09:40.695" v="472" actId="478"/>
          <ac:spMkLst>
            <pc:docMk/>
            <pc:sldMk cId="2390457103" sldId="2134806012"/>
            <ac:spMk id="57" creationId="{1C6AF795-0B4D-4070-86F0-A3785AB24106}"/>
          </ac:spMkLst>
        </pc:spChg>
        <pc:spChg chg="del">
          <ac:chgData name="Luciano Moreira" userId="81b8fdb4-f0e4-4457-95d0-b1edd3d5525c" providerId="ADAL" clId="{2048BDE3-D3FD-4525-B042-C91667E1C1D6}" dt="2022-04-14T16:09:40.695" v="472" actId="478"/>
          <ac:spMkLst>
            <pc:docMk/>
            <pc:sldMk cId="2390457103" sldId="2134806012"/>
            <ac:spMk id="59" creationId="{21E40231-F3C0-447A-AFC0-623056652003}"/>
          </ac:spMkLst>
        </pc:spChg>
        <pc:spChg chg="del">
          <ac:chgData name="Luciano Moreira" userId="81b8fdb4-f0e4-4457-95d0-b1edd3d5525c" providerId="ADAL" clId="{2048BDE3-D3FD-4525-B042-C91667E1C1D6}" dt="2022-04-14T16:09:40.695" v="472" actId="478"/>
          <ac:spMkLst>
            <pc:docMk/>
            <pc:sldMk cId="2390457103" sldId="2134806012"/>
            <ac:spMk id="61" creationId="{02495E9B-0117-4D57-B8DA-AAF348677163}"/>
          </ac:spMkLst>
        </pc:spChg>
        <pc:spChg chg="del">
          <ac:chgData name="Luciano Moreira" userId="81b8fdb4-f0e4-4457-95d0-b1edd3d5525c" providerId="ADAL" clId="{2048BDE3-D3FD-4525-B042-C91667E1C1D6}" dt="2022-04-14T16:09:50.806" v="474" actId="478"/>
          <ac:spMkLst>
            <pc:docMk/>
            <pc:sldMk cId="2390457103" sldId="2134806012"/>
            <ac:spMk id="64" creationId="{EEBA5BCD-4BCC-4615-A7F1-B9885BC31449}"/>
          </ac:spMkLst>
        </pc:spChg>
        <pc:spChg chg="del">
          <ac:chgData name="Luciano Moreira" userId="81b8fdb4-f0e4-4457-95d0-b1edd3d5525c" providerId="ADAL" clId="{2048BDE3-D3FD-4525-B042-C91667E1C1D6}" dt="2022-04-14T16:09:16.111" v="468" actId="478"/>
          <ac:spMkLst>
            <pc:docMk/>
            <pc:sldMk cId="2390457103" sldId="2134806012"/>
            <ac:spMk id="67" creationId="{D1C1BC2F-0892-457E-B2A3-FAE754558B62}"/>
          </ac:spMkLst>
        </pc:spChg>
        <pc:spChg chg="del">
          <ac:chgData name="Luciano Moreira" userId="81b8fdb4-f0e4-4457-95d0-b1edd3d5525c" providerId="ADAL" clId="{2048BDE3-D3FD-4525-B042-C91667E1C1D6}" dt="2022-04-14T16:09:52.882" v="475" actId="478"/>
          <ac:spMkLst>
            <pc:docMk/>
            <pc:sldMk cId="2390457103" sldId="2134806012"/>
            <ac:spMk id="82" creationId="{E4CF63DD-3785-4C42-85D0-E2EA9B5DF47D}"/>
          </ac:spMkLst>
        </pc:spChg>
        <pc:spChg chg="del">
          <ac:chgData name="Luciano Moreira" userId="81b8fdb4-f0e4-4457-95d0-b1edd3d5525c" providerId="ADAL" clId="{2048BDE3-D3FD-4525-B042-C91667E1C1D6}" dt="2022-04-14T16:09:40.695" v="472" actId="478"/>
          <ac:spMkLst>
            <pc:docMk/>
            <pc:sldMk cId="2390457103" sldId="2134806012"/>
            <ac:spMk id="126" creationId="{A2DBE953-5E4A-470D-8D48-8BD0FB1BAC29}"/>
          </ac:spMkLst>
        </pc:spChg>
        <pc:spChg chg="del">
          <ac:chgData name="Luciano Moreira" userId="81b8fdb4-f0e4-4457-95d0-b1edd3d5525c" providerId="ADAL" clId="{2048BDE3-D3FD-4525-B042-C91667E1C1D6}" dt="2022-04-14T16:09:40.695" v="472" actId="478"/>
          <ac:spMkLst>
            <pc:docMk/>
            <pc:sldMk cId="2390457103" sldId="2134806012"/>
            <ac:spMk id="128" creationId="{9BA3C227-E253-4ED6-A02F-C8CEE648F25A}"/>
          </ac:spMkLst>
        </pc:spChg>
        <pc:spChg chg="del">
          <ac:chgData name="Luciano Moreira" userId="81b8fdb4-f0e4-4457-95d0-b1edd3d5525c" providerId="ADAL" clId="{2048BDE3-D3FD-4525-B042-C91667E1C1D6}" dt="2022-04-14T16:09:40.695" v="472" actId="478"/>
          <ac:spMkLst>
            <pc:docMk/>
            <pc:sldMk cId="2390457103" sldId="2134806012"/>
            <ac:spMk id="130" creationId="{7C8E6D53-CA5A-4FF4-AB5E-28E8B49EF3F3}"/>
          </ac:spMkLst>
        </pc:spChg>
        <pc:spChg chg="del">
          <ac:chgData name="Luciano Moreira" userId="81b8fdb4-f0e4-4457-95d0-b1edd3d5525c" providerId="ADAL" clId="{2048BDE3-D3FD-4525-B042-C91667E1C1D6}" dt="2022-04-14T16:09:40.695" v="472" actId="478"/>
          <ac:spMkLst>
            <pc:docMk/>
            <pc:sldMk cId="2390457103" sldId="2134806012"/>
            <ac:spMk id="132" creationId="{5B4209FC-EAA7-41CA-819F-83CCF6CC472A}"/>
          </ac:spMkLst>
        </pc:spChg>
        <pc:spChg chg="del">
          <ac:chgData name="Luciano Moreira" userId="81b8fdb4-f0e4-4457-95d0-b1edd3d5525c" providerId="ADAL" clId="{2048BDE3-D3FD-4525-B042-C91667E1C1D6}" dt="2022-04-14T16:09:40.695" v="472" actId="478"/>
          <ac:spMkLst>
            <pc:docMk/>
            <pc:sldMk cId="2390457103" sldId="2134806012"/>
            <ac:spMk id="134" creationId="{2961C2FD-DCD5-4064-A16E-3BDE390C9D60}"/>
          </ac:spMkLst>
        </pc:spChg>
        <pc:spChg chg="del">
          <ac:chgData name="Luciano Moreira" userId="81b8fdb4-f0e4-4457-95d0-b1edd3d5525c" providerId="ADAL" clId="{2048BDE3-D3FD-4525-B042-C91667E1C1D6}" dt="2022-04-14T16:09:19.238" v="469" actId="478"/>
          <ac:spMkLst>
            <pc:docMk/>
            <pc:sldMk cId="2390457103" sldId="2134806012"/>
            <ac:spMk id="136" creationId="{2FB37295-3443-45DA-8928-3304B906FCE5}"/>
          </ac:spMkLst>
        </pc:spChg>
        <pc:spChg chg="del">
          <ac:chgData name="Luciano Moreira" userId="81b8fdb4-f0e4-4457-95d0-b1edd3d5525c" providerId="ADAL" clId="{2048BDE3-D3FD-4525-B042-C91667E1C1D6}" dt="2022-04-14T16:09:19.238" v="469" actId="478"/>
          <ac:spMkLst>
            <pc:docMk/>
            <pc:sldMk cId="2390457103" sldId="2134806012"/>
            <ac:spMk id="138" creationId="{2A6DEE09-8679-4618-A662-1D453A453295}"/>
          </ac:spMkLst>
        </pc:spChg>
        <pc:spChg chg="del">
          <ac:chgData name="Luciano Moreira" userId="81b8fdb4-f0e4-4457-95d0-b1edd3d5525c" providerId="ADAL" clId="{2048BDE3-D3FD-4525-B042-C91667E1C1D6}" dt="2022-04-14T16:09:19.238" v="469" actId="478"/>
          <ac:spMkLst>
            <pc:docMk/>
            <pc:sldMk cId="2390457103" sldId="2134806012"/>
            <ac:spMk id="140" creationId="{A9689E42-C304-4104-9538-88929E9591F3}"/>
          </ac:spMkLst>
        </pc:spChg>
        <pc:spChg chg="del">
          <ac:chgData name="Luciano Moreira" userId="81b8fdb4-f0e4-4457-95d0-b1edd3d5525c" providerId="ADAL" clId="{2048BDE3-D3FD-4525-B042-C91667E1C1D6}" dt="2022-04-14T16:09:40.695" v="472" actId="478"/>
          <ac:spMkLst>
            <pc:docMk/>
            <pc:sldMk cId="2390457103" sldId="2134806012"/>
            <ac:spMk id="142" creationId="{A5F8C61E-E0E0-4844-8214-26DA50992E98}"/>
          </ac:spMkLst>
        </pc:spChg>
        <pc:cxnChg chg="mod">
          <ac:chgData name="Luciano Moreira" userId="81b8fdb4-f0e4-4457-95d0-b1edd3d5525c" providerId="ADAL" clId="{2048BDE3-D3FD-4525-B042-C91667E1C1D6}" dt="2022-04-14T16:10:21.874" v="484" actId="14100"/>
          <ac:cxnSpMkLst>
            <pc:docMk/>
            <pc:sldMk cId="2390457103" sldId="2134806012"/>
            <ac:cxnSpMk id="74" creationId="{E4D7171D-8D77-4831-AB91-833B1E4F0AB9}"/>
          </ac:cxnSpMkLst>
        </pc:cxnChg>
        <pc:cxnChg chg="mod">
          <ac:chgData name="Luciano Moreira" userId="81b8fdb4-f0e4-4457-95d0-b1edd3d5525c" providerId="ADAL" clId="{2048BDE3-D3FD-4525-B042-C91667E1C1D6}" dt="2022-04-14T16:10:24.685" v="485" actId="14100"/>
          <ac:cxnSpMkLst>
            <pc:docMk/>
            <pc:sldMk cId="2390457103" sldId="2134806012"/>
            <ac:cxnSpMk id="77" creationId="{96CC1A42-81F1-4739-82A8-AF0EDCF0DABE}"/>
          </ac:cxnSpMkLst>
        </pc:cxnChg>
        <pc:cxnChg chg="del">
          <ac:chgData name="Luciano Moreira" userId="81b8fdb4-f0e4-4457-95d0-b1edd3d5525c" providerId="ADAL" clId="{2048BDE3-D3FD-4525-B042-C91667E1C1D6}" dt="2022-04-14T16:09:40.695" v="472" actId="478"/>
          <ac:cxnSpMkLst>
            <pc:docMk/>
            <pc:sldMk cId="2390457103" sldId="2134806012"/>
            <ac:cxnSpMk id="88" creationId="{87853C80-601C-4B4D-B794-CD787D93A0F3}"/>
          </ac:cxnSpMkLst>
        </pc:cxnChg>
        <pc:cxnChg chg="del">
          <ac:chgData name="Luciano Moreira" userId="81b8fdb4-f0e4-4457-95d0-b1edd3d5525c" providerId="ADAL" clId="{2048BDE3-D3FD-4525-B042-C91667E1C1D6}" dt="2022-04-14T16:09:19.238" v="469" actId="478"/>
          <ac:cxnSpMkLst>
            <pc:docMk/>
            <pc:sldMk cId="2390457103" sldId="2134806012"/>
            <ac:cxnSpMk id="91" creationId="{D6A97BC3-E873-43CE-A820-9ECB7AAEC5EA}"/>
          </ac:cxnSpMkLst>
        </pc:cxnChg>
        <pc:cxnChg chg="del">
          <ac:chgData name="Luciano Moreira" userId="81b8fdb4-f0e4-4457-95d0-b1edd3d5525c" providerId="ADAL" clId="{2048BDE3-D3FD-4525-B042-C91667E1C1D6}" dt="2022-04-14T16:09:19.238" v="469" actId="478"/>
          <ac:cxnSpMkLst>
            <pc:docMk/>
            <pc:sldMk cId="2390457103" sldId="2134806012"/>
            <ac:cxnSpMk id="93" creationId="{9572DAFB-CEA3-4FCC-866D-45E8ADC8441C}"/>
          </ac:cxnSpMkLst>
        </pc:cxnChg>
        <pc:cxnChg chg="del">
          <ac:chgData name="Luciano Moreira" userId="81b8fdb4-f0e4-4457-95d0-b1edd3d5525c" providerId="ADAL" clId="{2048BDE3-D3FD-4525-B042-C91667E1C1D6}" dt="2022-04-14T16:09:40.695" v="472" actId="478"/>
          <ac:cxnSpMkLst>
            <pc:docMk/>
            <pc:sldMk cId="2390457103" sldId="2134806012"/>
            <ac:cxnSpMk id="95" creationId="{D21CEF0F-9AEA-41E8-B292-9DEFF7D74109}"/>
          </ac:cxnSpMkLst>
        </pc:cxnChg>
        <pc:cxnChg chg="del">
          <ac:chgData name="Luciano Moreira" userId="81b8fdb4-f0e4-4457-95d0-b1edd3d5525c" providerId="ADAL" clId="{2048BDE3-D3FD-4525-B042-C91667E1C1D6}" dt="2022-04-14T16:09:40.695" v="472" actId="478"/>
          <ac:cxnSpMkLst>
            <pc:docMk/>
            <pc:sldMk cId="2390457103" sldId="2134806012"/>
            <ac:cxnSpMk id="98" creationId="{14FA0294-3F0B-425E-8C82-03B3DB64834F}"/>
          </ac:cxnSpMkLst>
        </pc:cxnChg>
        <pc:cxnChg chg="del">
          <ac:chgData name="Luciano Moreira" userId="81b8fdb4-f0e4-4457-95d0-b1edd3d5525c" providerId="ADAL" clId="{2048BDE3-D3FD-4525-B042-C91667E1C1D6}" dt="2022-04-14T16:09:40.695" v="472" actId="478"/>
          <ac:cxnSpMkLst>
            <pc:docMk/>
            <pc:sldMk cId="2390457103" sldId="2134806012"/>
            <ac:cxnSpMk id="102" creationId="{ACE847CF-4677-47DF-85A2-ACD9EF5CDB1B}"/>
          </ac:cxnSpMkLst>
        </pc:cxnChg>
        <pc:cxnChg chg="del">
          <ac:chgData name="Luciano Moreira" userId="81b8fdb4-f0e4-4457-95d0-b1edd3d5525c" providerId="ADAL" clId="{2048BDE3-D3FD-4525-B042-C91667E1C1D6}" dt="2022-04-14T16:09:40.695" v="472" actId="478"/>
          <ac:cxnSpMkLst>
            <pc:docMk/>
            <pc:sldMk cId="2390457103" sldId="2134806012"/>
            <ac:cxnSpMk id="108" creationId="{1A79707B-6973-4CDA-BDB9-25C7C853F185}"/>
          </ac:cxnSpMkLst>
        </pc:cxnChg>
        <pc:cxnChg chg="del">
          <ac:chgData name="Luciano Moreira" userId="81b8fdb4-f0e4-4457-95d0-b1edd3d5525c" providerId="ADAL" clId="{2048BDE3-D3FD-4525-B042-C91667E1C1D6}" dt="2022-04-14T16:09:40.695" v="472" actId="478"/>
          <ac:cxnSpMkLst>
            <pc:docMk/>
            <pc:sldMk cId="2390457103" sldId="2134806012"/>
            <ac:cxnSpMk id="112" creationId="{ABAECF21-7600-48F2-84D9-850C616B2157}"/>
          </ac:cxnSpMkLst>
        </pc:cxnChg>
        <pc:cxnChg chg="del">
          <ac:chgData name="Luciano Moreira" userId="81b8fdb4-f0e4-4457-95d0-b1edd3d5525c" providerId="ADAL" clId="{2048BDE3-D3FD-4525-B042-C91667E1C1D6}" dt="2022-04-14T16:09:19.238" v="469" actId="478"/>
          <ac:cxnSpMkLst>
            <pc:docMk/>
            <pc:sldMk cId="2390457103" sldId="2134806012"/>
            <ac:cxnSpMk id="118" creationId="{C1136473-BBF5-4D32-8D10-8E4C2D1DD963}"/>
          </ac:cxnSpMkLst>
        </pc:cxnChg>
        <pc:cxnChg chg="del">
          <ac:chgData name="Luciano Moreira" userId="81b8fdb4-f0e4-4457-95d0-b1edd3d5525c" providerId="ADAL" clId="{2048BDE3-D3FD-4525-B042-C91667E1C1D6}" dt="2022-04-14T16:09:40.695" v="472" actId="478"/>
          <ac:cxnSpMkLst>
            <pc:docMk/>
            <pc:sldMk cId="2390457103" sldId="2134806012"/>
            <ac:cxnSpMk id="119" creationId="{77B0F861-DB60-45B7-8FD6-97CC26165ECC}"/>
          </ac:cxnSpMkLst>
        </pc:cxnChg>
      </pc:sldChg>
      <pc:sldChg chg="add del">
        <pc:chgData name="Luciano Moreira" userId="81b8fdb4-f0e4-4457-95d0-b1edd3d5525c" providerId="ADAL" clId="{2048BDE3-D3FD-4525-B042-C91667E1C1D6}" dt="2022-04-14T17:03:19.269" v="637"/>
        <pc:sldMkLst>
          <pc:docMk/>
          <pc:sldMk cId="3370183628" sldId="2134806013"/>
        </pc:sldMkLst>
      </pc:sldChg>
      <pc:sldChg chg="addSp modSp new mod">
        <pc:chgData name="Luciano Moreira" userId="81b8fdb4-f0e4-4457-95d0-b1edd3d5525c" providerId="ADAL" clId="{2048BDE3-D3FD-4525-B042-C91667E1C1D6}" dt="2022-04-14T17:04:06.835" v="660" actId="22"/>
        <pc:sldMkLst>
          <pc:docMk/>
          <pc:sldMk cId="3884285377" sldId="2134806013"/>
        </pc:sldMkLst>
        <pc:spChg chg="mod">
          <ac:chgData name="Luciano Moreira" userId="81b8fdb4-f0e4-4457-95d0-b1edd3d5525c" providerId="ADAL" clId="{2048BDE3-D3FD-4525-B042-C91667E1C1D6}" dt="2022-04-14T17:03:32.033" v="659" actId="20577"/>
          <ac:spMkLst>
            <pc:docMk/>
            <pc:sldMk cId="3884285377" sldId="2134806013"/>
            <ac:spMk id="2" creationId="{F3787964-1FC4-7F20-656F-CC66507905E9}"/>
          </ac:spMkLst>
        </pc:spChg>
        <pc:picChg chg="add">
          <ac:chgData name="Luciano Moreira" userId="81b8fdb4-f0e4-4457-95d0-b1edd3d5525c" providerId="ADAL" clId="{2048BDE3-D3FD-4525-B042-C91667E1C1D6}" dt="2022-04-14T17:04:06.835" v="660" actId="22"/>
          <ac:picMkLst>
            <pc:docMk/>
            <pc:sldMk cId="3884285377" sldId="2134806013"/>
            <ac:picMk id="4" creationId="{6AF67DAB-C8C0-B69F-C91E-FA39BF655DB4}"/>
          </ac:picMkLst>
        </pc:picChg>
      </pc:sldChg>
    </pc:docChg>
  </pc:docChgLst>
  <pc:docChgLst>
    <pc:chgData name="Luciano Moreira" userId="81b8fdb4-f0e4-4457-95d0-b1edd3d5525c" providerId="ADAL" clId="{8FFDD816-417F-4AE7-8F04-DE6BF939B8BC}"/>
    <pc:docChg chg="delSld modSld sldOrd modSection">
      <pc:chgData name="Luciano Moreira" userId="81b8fdb4-f0e4-4457-95d0-b1edd3d5525c" providerId="ADAL" clId="{8FFDD816-417F-4AE7-8F04-DE6BF939B8BC}" dt="2022-06-15T18:26:55.154" v="6"/>
      <pc:docMkLst>
        <pc:docMk/>
      </pc:docMkLst>
      <pc:sldChg chg="ord">
        <pc:chgData name="Luciano Moreira" userId="81b8fdb4-f0e4-4457-95d0-b1edd3d5525c" providerId="ADAL" clId="{8FFDD816-417F-4AE7-8F04-DE6BF939B8BC}" dt="2022-06-15T18:26:52.059" v="4"/>
        <pc:sldMkLst>
          <pc:docMk/>
          <pc:sldMk cId="4057827721" sldId="2134805985"/>
        </pc:sldMkLst>
      </pc:sldChg>
      <pc:sldChg chg="ord">
        <pc:chgData name="Luciano Moreira" userId="81b8fdb4-f0e4-4457-95d0-b1edd3d5525c" providerId="ADAL" clId="{8FFDD816-417F-4AE7-8F04-DE6BF939B8BC}" dt="2022-06-15T18:26:50.675" v="2"/>
        <pc:sldMkLst>
          <pc:docMk/>
          <pc:sldMk cId="3164731495" sldId="2134805986"/>
        </pc:sldMkLst>
      </pc:sldChg>
      <pc:sldChg chg="ord">
        <pc:chgData name="Luciano Moreira" userId="81b8fdb4-f0e4-4457-95d0-b1edd3d5525c" providerId="ADAL" clId="{8FFDD816-417F-4AE7-8F04-DE6BF939B8BC}" dt="2022-06-15T18:26:55.154" v="6"/>
        <pc:sldMkLst>
          <pc:docMk/>
          <pc:sldMk cId="1872076548" sldId="2134805987"/>
        </pc:sldMkLst>
      </pc:sldChg>
      <pc:sldChg chg="del">
        <pc:chgData name="Luciano Moreira" userId="81b8fdb4-f0e4-4457-95d0-b1edd3d5525c" providerId="ADAL" clId="{8FFDD816-417F-4AE7-8F04-DE6BF939B8BC}" dt="2022-06-15T18:26:42.059" v="0" actId="47"/>
        <pc:sldMkLst>
          <pc:docMk/>
          <pc:sldMk cId="2485717638" sldId="2134806004"/>
        </pc:sldMkLst>
      </pc:sldChg>
    </pc:docChg>
  </pc:docChgLst>
  <pc:docChgLst>
    <pc:chgData name="Luciano Moreira" userId="81b8fdb4-f0e4-4457-95d0-b1edd3d5525c" providerId="ADAL" clId="{675B7749-5C25-4F76-A446-4779F4E2B149}"/>
    <pc:docChg chg="undo redo custSel addSld delSld modSld sldOrd modSection">
      <pc:chgData name="Luciano Moreira" userId="81b8fdb4-f0e4-4457-95d0-b1edd3d5525c" providerId="ADAL" clId="{675B7749-5C25-4F76-A446-4779F4E2B149}" dt="2022-04-01T16:42:29.008" v="6661" actId="6549"/>
      <pc:docMkLst>
        <pc:docMk/>
      </pc:docMkLst>
      <pc:sldChg chg="addSp delSp modSp add mod modTransition modClrScheme modAnim chgLayout modNotesTx">
        <pc:chgData name="Luciano Moreira" userId="81b8fdb4-f0e4-4457-95d0-b1edd3d5525c" providerId="ADAL" clId="{675B7749-5C25-4F76-A446-4779F4E2B149}" dt="2022-02-04T16:23:05.593" v="6526" actId="20577"/>
        <pc:sldMkLst>
          <pc:docMk/>
          <pc:sldMk cId="3967767097" sldId="268"/>
        </pc:sldMkLst>
        <pc:spChg chg="add del mod">
          <ac:chgData name="Luciano Moreira" userId="81b8fdb4-f0e4-4457-95d0-b1edd3d5525c" providerId="ADAL" clId="{675B7749-5C25-4F76-A446-4779F4E2B149}" dt="2022-01-18T11:19:22.432" v="265" actId="21"/>
          <ac:spMkLst>
            <pc:docMk/>
            <pc:sldMk cId="3967767097" sldId="268"/>
            <ac:spMk id="3" creationId="{0AE93176-96D1-4356-8FE1-B07515826762}"/>
          </ac:spMkLst>
        </pc:spChg>
        <pc:spChg chg="add del mod">
          <ac:chgData name="Luciano Moreira" userId="81b8fdb4-f0e4-4457-95d0-b1edd3d5525c" providerId="ADAL" clId="{675B7749-5C25-4F76-A446-4779F4E2B149}" dt="2022-01-18T11:26:34.706" v="503" actId="20577"/>
          <ac:spMkLst>
            <pc:docMk/>
            <pc:sldMk cId="3967767097" sldId="268"/>
            <ac:spMk id="4" creationId="{B186F71E-71E2-4937-98EF-4DD092D82B95}"/>
          </ac:spMkLst>
        </pc:spChg>
        <pc:spChg chg="add del mod">
          <ac:chgData name="Luciano Moreira" userId="81b8fdb4-f0e4-4457-95d0-b1edd3d5525c" providerId="ADAL" clId="{675B7749-5C25-4F76-A446-4779F4E2B149}" dt="2022-01-18T11:26:38.763" v="509" actId="20577"/>
          <ac:spMkLst>
            <pc:docMk/>
            <pc:sldMk cId="3967767097" sldId="268"/>
            <ac:spMk id="5" creationId="{2C7D219E-CF05-43C6-B4F5-A3DD4C981587}"/>
          </ac:spMkLst>
        </pc:spChg>
        <pc:spChg chg="add mod">
          <ac:chgData name="Luciano Moreira" userId="81b8fdb4-f0e4-4457-95d0-b1edd3d5525c" providerId="ADAL" clId="{675B7749-5C25-4F76-A446-4779F4E2B149}" dt="2022-01-18T11:27:17.782" v="518" actId="20577"/>
          <ac:spMkLst>
            <pc:docMk/>
            <pc:sldMk cId="3967767097" sldId="268"/>
            <ac:spMk id="6" creationId="{0E68CE58-8FD8-4DD9-BA3E-CB8C10216C5C}"/>
          </ac:spMkLst>
        </pc:spChg>
        <pc:spChg chg="add mod">
          <ac:chgData name="Luciano Moreira" userId="81b8fdb4-f0e4-4457-95d0-b1edd3d5525c" providerId="ADAL" clId="{675B7749-5C25-4F76-A446-4779F4E2B149}" dt="2022-01-18T11:27:25.698" v="520" actId="20577"/>
          <ac:spMkLst>
            <pc:docMk/>
            <pc:sldMk cId="3967767097" sldId="268"/>
            <ac:spMk id="8" creationId="{5CC8B014-728F-4817-A1A1-34413801D569}"/>
          </ac:spMkLst>
        </pc:spChg>
        <pc:spChg chg="add mod">
          <ac:chgData name="Luciano Moreira" userId="81b8fdb4-f0e4-4457-95d0-b1edd3d5525c" providerId="ADAL" clId="{675B7749-5C25-4F76-A446-4779F4E2B149}" dt="2022-01-18T11:27:13.789" v="516" actId="20577"/>
          <ac:spMkLst>
            <pc:docMk/>
            <pc:sldMk cId="3967767097" sldId="268"/>
            <ac:spMk id="10" creationId="{536F5AE4-34D8-48D5-9E73-2D410CC54AFF}"/>
          </ac:spMkLst>
        </pc:spChg>
        <pc:spChg chg="add del mod">
          <ac:chgData name="Luciano Moreira" userId="81b8fdb4-f0e4-4457-95d0-b1edd3d5525c" providerId="ADAL" clId="{675B7749-5C25-4F76-A446-4779F4E2B149}" dt="2022-01-18T11:20:01.967" v="276" actId="1076"/>
          <ac:spMkLst>
            <pc:docMk/>
            <pc:sldMk cId="3967767097" sldId="268"/>
            <ac:spMk id="11" creationId="{BAA7943D-090F-41DE-BF6F-ADDF6C5566E4}"/>
          </ac:spMkLst>
        </pc:spChg>
        <pc:spChg chg="add del mod">
          <ac:chgData name="Luciano Moreira" userId="81b8fdb4-f0e4-4457-95d0-b1edd3d5525c" providerId="ADAL" clId="{675B7749-5C25-4F76-A446-4779F4E2B149}" dt="2022-01-18T11:19:31.645" v="268" actId="207"/>
          <ac:spMkLst>
            <pc:docMk/>
            <pc:sldMk cId="3967767097" sldId="268"/>
            <ac:spMk id="17" creationId="{94E059C6-817F-44AF-94E9-402179D42074}"/>
          </ac:spMkLst>
        </pc:spChg>
        <pc:spChg chg="add del mod ord">
          <ac:chgData name="Luciano Moreira" userId="81b8fdb4-f0e4-4457-95d0-b1edd3d5525c" providerId="ADAL" clId="{675B7749-5C25-4F76-A446-4779F4E2B149}" dt="2022-01-18T11:19:44.922" v="270" actId="700"/>
          <ac:spMkLst>
            <pc:docMk/>
            <pc:sldMk cId="3967767097" sldId="268"/>
            <ac:spMk id="18" creationId="{00000000-0000-0000-0000-000000000000}"/>
          </ac:spMkLst>
        </pc:spChg>
        <pc:spChg chg="add del mod">
          <ac:chgData name="Luciano Moreira" userId="81b8fdb4-f0e4-4457-95d0-b1edd3d5525c" providerId="ADAL" clId="{675B7749-5C25-4F76-A446-4779F4E2B149}" dt="2022-01-18T11:19:31.645" v="268" actId="207"/>
          <ac:spMkLst>
            <pc:docMk/>
            <pc:sldMk cId="3967767097" sldId="268"/>
            <ac:spMk id="23" creationId="{13B5173C-E374-4A2B-B9F6-B0116A250CE3}"/>
          </ac:spMkLst>
        </pc:spChg>
        <pc:spChg chg="add del mod">
          <ac:chgData name="Luciano Moreira" userId="81b8fdb4-f0e4-4457-95d0-b1edd3d5525c" providerId="ADAL" clId="{675B7749-5C25-4F76-A446-4779F4E2B149}" dt="2022-01-18T11:19:31.645" v="268" actId="207"/>
          <ac:spMkLst>
            <pc:docMk/>
            <pc:sldMk cId="3967767097" sldId="268"/>
            <ac:spMk id="25" creationId="{6ADF2083-A49F-4C78-BDDE-9980126BECB7}"/>
          </ac:spMkLst>
        </pc:spChg>
        <pc:spChg chg="add del mod">
          <ac:chgData name="Luciano Moreira" userId="81b8fdb4-f0e4-4457-95d0-b1edd3d5525c" providerId="ADAL" clId="{675B7749-5C25-4F76-A446-4779F4E2B149}" dt="2022-01-18T11:19:31.645" v="268" actId="207"/>
          <ac:spMkLst>
            <pc:docMk/>
            <pc:sldMk cId="3967767097" sldId="268"/>
            <ac:spMk id="27" creationId="{6F4F1A92-3F47-49AB-B6EF-E91F89B48F77}"/>
          </ac:spMkLst>
        </pc:spChg>
        <pc:spChg chg="add del mod">
          <ac:chgData name="Luciano Moreira" userId="81b8fdb4-f0e4-4457-95d0-b1edd3d5525c" providerId="ADAL" clId="{675B7749-5C25-4F76-A446-4779F4E2B149}" dt="2022-01-18T11:22:39.592" v="382" actId="21"/>
          <ac:spMkLst>
            <pc:docMk/>
            <pc:sldMk cId="3967767097" sldId="268"/>
            <ac:spMk id="29" creationId="{944F3088-3F10-4AE9-8420-BD26A04E5AC9}"/>
          </ac:spMkLst>
        </pc:spChg>
        <pc:spChg chg="add mod">
          <ac:chgData name="Luciano Moreira" userId="81b8fdb4-f0e4-4457-95d0-b1edd3d5525c" providerId="ADAL" clId="{675B7749-5C25-4F76-A446-4779F4E2B149}" dt="2022-01-18T11:22:45.118" v="384" actId="1076"/>
          <ac:spMkLst>
            <pc:docMk/>
            <pc:sldMk cId="3967767097" sldId="268"/>
            <ac:spMk id="30" creationId="{9D33D136-44AD-49F3-A0FF-38BF4478FDF4}"/>
          </ac:spMkLst>
        </pc:spChg>
        <pc:spChg chg="add del mod">
          <ac:chgData name="Luciano Moreira" userId="81b8fdb4-f0e4-4457-95d0-b1edd3d5525c" providerId="ADAL" clId="{675B7749-5C25-4F76-A446-4779F4E2B149}" dt="2022-01-18T11:19:23.604" v="266" actId="207"/>
          <ac:spMkLst>
            <pc:docMk/>
            <pc:sldMk cId="3967767097" sldId="268"/>
            <ac:spMk id="31" creationId="{0614CA0D-0476-4426-B6B7-B3408B1F606D}"/>
          </ac:spMkLst>
        </pc:spChg>
        <pc:spChg chg="add del mod">
          <ac:chgData name="Luciano Moreira" userId="81b8fdb4-f0e4-4457-95d0-b1edd3d5525c" providerId="ADAL" clId="{675B7749-5C25-4F76-A446-4779F4E2B149}" dt="2022-01-18T11:19:23.604" v="266" actId="207"/>
          <ac:spMkLst>
            <pc:docMk/>
            <pc:sldMk cId="3967767097" sldId="268"/>
            <ac:spMk id="33" creationId="{0C4A0AD6-B873-4F13-B66C-3EAF49D8F247}"/>
          </ac:spMkLst>
        </pc:spChg>
        <pc:spChg chg="add del mod">
          <ac:chgData name="Luciano Moreira" userId="81b8fdb4-f0e4-4457-95d0-b1edd3d5525c" providerId="ADAL" clId="{675B7749-5C25-4F76-A446-4779F4E2B149}" dt="2022-01-18T11:19:23.604" v="266" actId="207"/>
          <ac:spMkLst>
            <pc:docMk/>
            <pc:sldMk cId="3967767097" sldId="268"/>
            <ac:spMk id="35" creationId="{30DCFC53-8BDD-49C6-9404-AF35AD3A270C}"/>
          </ac:spMkLst>
        </pc:spChg>
        <pc:spChg chg="add del mod">
          <ac:chgData name="Luciano Moreira" userId="81b8fdb4-f0e4-4457-95d0-b1edd3d5525c" providerId="ADAL" clId="{675B7749-5C25-4F76-A446-4779F4E2B149}" dt="2022-01-18T11:19:23.604" v="266" actId="207"/>
          <ac:spMkLst>
            <pc:docMk/>
            <pc:sldMk cId="3967767097" sldId="268"/>
            <ac:spMk id="37" creationId="{0C85E59F-3A05-4F4F-8697-FDD76069F486}"/>
          </ac:spMkLst>
        </pc:spChg>
        <pc:spChg chg="add del mod">
          <ac:chgData name="Luciano Moreira" userId="81b8fdb4-f0e4-4457-95d0-b1edd3d5525c" providerId="ADAL" clId="{675B7749-5C25-4F76-A446-4779F4E2B149}" dt="2022-01-18T11:21:58.018" v="372" actId="1076"/>
          <ac:spMkLst>
            <pc:docMk/>
            <pc:sldMk cId="3967767097" sldId="268"/>
            <ac:spMk id="39" creationId="{7F635E69-5A06-4342-B081-C20112FEF60F}"/>
          </ac:spMkLst>
        </pc:spChg>
        <pc:spChg chg="add mod">
          <ac:chgData name="Luciano Moreira" userId="81b8fdb4-f0e4-4457-95d0-b1edd3d5525c" providerId="ADAL" clId="{675B7749-5C25-4F76-A446-4779F4E2B149}" dt="2022-01-18T11:40:40.707" v="770" actId="20577"/>
          <ac:spMkLst>
            <pc:docMk/>
            <pc:sldMk cId="3967767097" sldId="268"/>
            <ac:spMk id="47" creationId="{E5EE1CC1-44D4-41AF-9E60-617A07D52666}"/>
          </ac:spMkLst>
        </pc:spChg>
        <pc:spChg chg="add mod">
          <ac:chgData name="Luciano Moreira" userId="81b8fdb4-f0e4-4457-95d0-b1edd3d5525c" providerId="ADAL" clId="{675B7749-5C25-4F76-A446-4779F4E2B149}" dt="2022-02-04T16:23:05.593" v="6526" actId="20577"/>
          <ac:spMkLst>
            <pc:docMk/>
            <pc:sldMk cId="3967767097" sldId="268"/>
            <ac:spMk id="48" creationId="{99073034-997F-46F6-9BC0-38C910AF344E}"/>
          </ac:spMkLst>
        </pc:spChg>
        <pc:spChg chg="add del">
          <ac:chgData name="Luciano Moreira" userId="81b8fdb4-f0e4-4457-95d0-b1edd3d5525c" providerId="ADAL" clId="{675B7749-5C25-4F76-A446-4779F4E2B149}" dt="2022-01-18T11:32:27.140" v="632" actId="22"/>
          <ac:spMkLst>
            <pc:docMk/>
            <pc:sldMk cId="3967767097" sldId="268"/>
            <ac:spMk id="50" creationId="{7B6D83AD-2056-4666-9F69-AD4F601F329E}"/>
          </ac:spMkLst>
        </pc:spChg>
        <pc:spChg chg="add del mod">
          <ac:chgData name="Luciano Moreira" userId="81b8fdb4-f0e4-4457-95d0-b1edd3d5525c" providerId="ADAL" clId="{675B7749-5C25-4F76-A446-4779F4E2B149}" dt="2022-01-18T11:33:26.793" v="690" actId="478"/>
          <ac:spMkLst>
            <pc:docMk/>
            <pc:sldMk cId="3967767097" sldId="268"/>
            <ac:spMk id="52" creationId="{D3DB43CF-4FB2-4C27-9883-ECDEAE2DCB98}"/>
          </ac:spMkLst>
        </pc:spChg>
        <pc:spChg chg="add mod">
          <ac:chgData name="Luciano Moreira" userId="81b8fdb4-f0e4-4457-95d0-b1edd3d5525c" providerId="ADAL" clId="{675B7749-5C25-4F76-A446-4779F4E2B149}" dt="2022-01-18T11:33:09.229" v="688" actId="1076"/>
          <ac:spMkLst>
            <pc:docMk/>
            <pc:sldMk cId="3967767097" sldId="268"/>
            <ac:spMk id="53" creationId="{88805054-7144-4C00-8513-7FCE74E89AF3}"/>
          </ac:spMkLst>
        </pc:spChg>
        <pc:cxnChg chg="add del">
          <ac:chgData name="Luciano Moreira" userId="81b8fdb4-f0e4-4457-95d0-b1edd3d5525c" providerId="ADAL" clId="{675B7749-5C25-4F76-A446-4779F4E2B149}" dt="2022-01-18T11:19:22.432" v="265" actId="21"/>
          <ac:cxnSpMkLst>
            <pc:docMk/>
            <pc:sldMk cId="3967767097" sldId="268"/>
            <ac:cxnSpMk id="7" creationId="{745BF3B5-EA79-4B61-9849-0C32E8EAB153}"/>
          </ac:cxnSpMkLst>
        </pc:cxnChg>
        <pc:cxnChg chg="add del">
          <ac:chgData name="Luciano Moreira" userId="81b8fdb4-f0e4-4457-95d0-b1edd3d5525c" providerId="ADAL" clId="{675B7749-5C25-4F76-A446-4779F4E2B149}" dt="2022-01-18T11:19:22.432" v="265" actId="21"/>
          <ac:cxnSpMkLst>
            <pc:docMk/>
            <pc:sldMk cId="3967767097" sldId="268"/>
            <ac:cxnSpMk id="9" creationId="{BDB2F491-13B2-4A58-94AA-20107130F1EC}"/>
          </ac:cxnSpMkLst>
        </pc:cxnChg>
        <pc:cxnChg chg="add del">
          <ac:chgData name="Luciano Moreira" userId="81b8fdb4-f0e4-4457-95d0-b1edd3d5525c" providerId="ADAL" clId="{675B7749-5C25-4F76-A446-4779F4E2B149}" dt="2022-01-18T11:19:22.432" v="265" actId="21"/>
          <ac:cxnSpMkLst>
            <pc:docMk/>
            <pc:sldMk cId="3967767097" sldId="268"/>
            <ac:cxnSpMk id="13" creationId="{784464C0-2886-4A5F-B574-1FCFCA1AF6B6}"/>
          </ac:cxnSpMkLst>
        </pc:cxnChg>
        <pc:cxnChg chg="add mod">
          <ac:chgData name="Luciano Moreira" userId="81b8fdb4-f0e4-4457-95d0-b1edd3d5525c" providerId="ADAL" clId="{675B7749-5C25-4F76-A446-4779F4E2B149}" dt="2022-01-18T11:22:24.224" v="376" actId="14100"/>
          <ac:cxnSpMkLst>
            <pc:docMk/>
            <pc:sldMk cId="3967767097" sldId="268"/>
            <ac:cxnSpMk id="14" creationId="{42A4B418-39A2-4FDB-BE69-24D9EFC095D0}"/>
          </ac:cxnSpMkLst>
        </pc:cxnChg>
        <pc:cxnChg chg="add del">
          <ac:chgData name="Luciano Moreira" userId="81b8fdb4-f0e4-4457-95d0-b1edd3d5525c" providerId="ADAL" clId="{675B7749-5C25-4F76-A446-4779F4E2B149}" dt="2022-01-18T11:19:22.432" v="265" actId="21"/>
          <ac:cxnSpMkLst>
            <pc:docMk/>
            <pc:sldMk cId="3967767097" sldId="268"/>
            <ac:cxnSpMk id="15" creationId="{024256CB-97BF-4798-A356-ED6D384D5482}"/>
          </ac:cxnSpMkLst>
        </pc:cxnChg>
        <pc:cxnChg chg="add mod">
          <ac:chgData name="Luciano Moreira" userId="81b8fdb4-f0e4-4457-95d0-b1edd3d5525c" providerId="ADAL" clId="{675B7749-5C25-4F76-A446-4779F4E2B149}" dt="2022-01-18T11:22:36.820" v="381" actId="1076"/>
          <ac:cxnSpMkLst>
            <pc:docMk/>
            <pc:sldMk cId="3967767097" sldId="268"/>
            <ac:cxnSpMk id="20" creationId="{9DB55322-191D-4830-82F4-F1B070C6512B}"/>
          </ac:cxnSpMkLst>
        </pc:cxnChg>
        <pc:cxnChg chg="add mod">
          <ac:chgData name="Luciano Moreira" userId="81b8fdb4-f0e4-4457-95d0-b1edd3d5525c" providerId="ADAL" clId="{675B7749-5C25-4F76-A446-4779F4E2B149}" dt="2022-01-18T11:22:57.687" v="388" actId="14100"/>
          <ac:cxnSpMkLst>
            <pc:docMk/>
            <pc:sldMk cId="3967767097" sldId="268"/>
            <ac:cxnSpMk id="34" creationId="{B37D8C18-7F9B-4F51-BAEB-6EA852C62348}"/>
          </ac:cxnSpMkLst>
        </pc:cxnChg>
        <pc:cxnChg chg="add mod">
          <ac:chgData name="Luciano Moreira" userId="81b8fdb4-f0e4-4457-95d0-b1edd3d5525c" providerId="ADAL" clId="{675B7749-5C25-4F76-A446-4779F4E2B149}" dt="2022-01-18T11:22:57.687" v="388" actId="14100"/>
          <ac:cxnSpMkLst>
            <pc:docMk/>
            <pc:sldMk cId="3967767097" sldId="268"/>
            <ac:cxnSpMk id="41" creationId="{2D6A4AD0-A812-42C8-B0C7-7BE236B2DFE5}"/>
          </ac:cxnSpMkLst>
        </pc:cxnChg>
      </pc:sldChg>
      <pc:sldChg chg="add del modTransition">
        <pc:chgData name="Luciano Moreira" userId="81b8fdb4-f0e4-4457-95d0-b1edd3d5525c" providerId="ADAL" clId="{675B7749-5C25-4F76-A446-4779F4E2B149}" dt="2022-01-18T11:42:46.443" v="795" actId="47"/>
        <pc:sldMkLst>
          <pc:docMk/>
          <pc:sldMk cId="2172811375" sldId="270"/>
        </pc:sldMkLst>
      </pc:sldChg>
      <pc:sldChg chg="add del modTransition">
        <pc:chgData name="Luciano Moreira" userId="81b8fdb4-f0e4-4457-95d0-b1edd3d5525c" providerId="ADAL" clId="{675B7749-5C25-4F76-A446-4779F4E2B149}" dt="2022-01-18T11:42:44.978" v="794" actId="47"/>
        <pc:sldMkLst>
          <pc:docMk/>
          <pc:sldMk cId="398035795" sldId="271"/>
        </pc:sldMkLst>
      </pc:sldChg>
      <pc:sldChg chg="add del modTransition">
        <pc:chgData name="Luciano Moreira" userId="81b8fdb4-f0e4-4457-95d0-b1edd3d5525c" providerId="ADAL" clId="{675B7749-5C25-4F76-A446-4779F4E2B149}" dt="2022-01-18T11:18:29.105" v="260"/>
        <pc:sldMkLst>
          <pc:docMk/>
          <pc:sldMk cId="4219907936" sldId="283"/>
        </pc:sldMkLst>
      </pc:sldChg>
      <pc:sldChg chg="add del modTransition">
        <pc:chgData name="Luciano Moreira" userId="81b8fdb4-f0e4-4457-95d0-b1edd3d5525c" providerId="ADAL" clId="{675B7749-5C25-4F76-A446-4779F4E2B149}" dt="2022-01-18T11:18:29.105" v="260"/>
        <pc:sldMkLst>
          <pc:docMk/>
          <pc:sldMk cId="914247629" sldId="284"/>
        </pc:sldMkLst>
      </pc:sldChg>
      <pc:sldChg chg="add del modTransition">
        <pc:chgData name="Luciano Moreira" userId="81b8fdb4-f0e4-4457-95d0-b1edd3d5525c" providerId="ADAL" clId="{675B7749-5C25-4F76-A446-4779F4E2B149}" dt="2022-01-18T11:18:29.105" v="260"/>
        <pc:sldMkLst>
          <pc:docMk/>
          <pc:sldMk cId="3147690791" sldId="285"/>
        </pc:sldMkLst>
      </pc:sldChg>
      <pc:sldChg chg="del">
        <pc:chgData name="Luciano Moreira" userId="81b8fdb4-f0e4-4457-95d0-b1edd3d5525c" providerId="ADAL" clId="{675B7749-5C25-4F76-A446-4779F4E2B149}" dt="2022-01-18T12:09:15.456" v="1563" actId="47"/>
        <pc:sldMkLst>
          <pc:docMk/>
          <pc:sldMk cId="1554953024" sldId="2076135895"/>
        </pc:sldMkLst>
      </pc:sldChg>
      <pc:sldChg chg="del">
        <pc:chgData name="Luciano Moreira" userId="81b8fdb4-f0e4-4457-95d0-b1edd3d5525c" providerId="ADAL" clId="{675B7749-5C25-4F76-A446-4779F4E2B149}" dt="2022-01-18T12:09:15.456" v="1563" actId="47"/>
        <pc:sldMkLst>
          <pc:docMk/>
          <pc:sldMk cId="3349947095" sldId="2134805906"/>
        </pc:sldMkLst>
      </pc:sldChg>
      <pc:sldChg chg="modNotesTx">
        <pc:chgData name="Luciano Moreira" userId="81b8fdb4-f0e4-4457-95d0-b1edd3d5525c" providerId="ADAL" clId="{675B7749-5C25-4F76-A446-4779F4E2B149}" dt="2022-01-28T16:41:11.745" v="5968" actId="20577"/>
        <pc:sldMkLst>
          <pc:docMk/>
          <pc:sldMk cId="4005972839" sldId="2134805934"/>
        </pc:sldMkLst>
      </pc:sldChg>
      <pc:sldChg chg="del">
        <pc:chgData name="Luciano Moreira" userId="81b8fdb4-f0e4-4457-95d0-b1edd3d5525c" providerId="ADAL" clId="{675B7749-5C25-4F76-A446-4779F4E2B149}" dt="2022-01-18T12:09:15.456" v="1563" actId="47"/>
        <pc:sldMkLst>
          <pc:docMk/>
          <pc:sldMk cId="3081877488" sldId="2134805939"/>
        </pc:sldMkLst>
      </pc:sldChg>
      <pc:sldChg chg="del">
        <pc:chgData name="Luciano Moreira" userId="81b8fdb4-f0e4-4457-95d0-b1edd3d5525c" providerId="ADAL" clId="{675B7749-5C25-4F76-A446-4779F4E2B149}" dt="2022-01-18T12:09:15.456" v="1563" actId="47"/>
        <pc:sldMkLst>
          <pc:docMk/>
          <pc:sldMk cId="2323496240" sldId="2134805943"/>
        </pc:sldMkLst>
      </pc:sldChg>
      <pc:sldChg chg="del">
        <pc:chgData name="Luciano Moreira" userId="81b8fdb4-f0e4-4457-95d0-b1edd3d5525c" providerId="ADAL" clId="{675B7749-5C25-4F76-A446-4779F4E2B149}" dt="2022-01-18T12:09:15.456" v="1563" actId="47"/>
        <pc:sldMkLst>
          <pc:docMk/>
          <pc:sldMk cId="3906944340" sldId="2134805945"/>
        </pc:sldMkLst>
      </pc:sldChg>
      <pc:sldChg chg="del">
        <pc:chgData name="Luciano Moreira" userId="81b8fdb4-f0e4-4457-95d0-b1edd3d5525c" providerId="ADAL" clId="{675B7749-5C25-4F76-A446-4779F4E2B149}" dt="2022-01-18T12:09:15.456" v="1563" actId="47"/>
        <pc:sldMkLst>
          <pc:docMk/>
          <pc:sldMk cId="1984189121" sldId="2134805950"/>
        </pc:sldMkLst>
      </pc:sldChg>
      <pc:sldChg chg="del">
        <pc:chgData name="Luciano Moreira" userId="81b8fdb4-f0e4-4457-95d0-b1edd3d5525c" providerId="ADAL" clId="{675B7749-5C25-4F76-A446-4779F4E2B149}" dt="2022-01-18T12:09:15.456" v="1563" actId="47"/>
        <pc:sldMkLst>
          <pc:docMk/>
          <pc:sldMk cId="2542527194" sldId="2134805956"/>
        </pc:sldMkLst>
      </pc:sldChg>
      <pc:sldChg chg="del">
        <pc:chgData name="Luciano Moreira" userId="81b8fdb4-f0e4-4457-95d0-b1edd3d5525c" providerId="ADAL" clId="{675B7749-5C25-4F76-A446-4779F4E2B149}" dt="2022-01-18T12:09:15.456" v="1563" actId="47"/>
        <pc:sldMkLst>
          <pc:docMk/>
          <pc:sldMk cId="3352996585" sldId="2134805957"/>
        </pc:sldMkLst>
      </pc:sldChg>
      <pc:sldChg chg="addSp delSp modSp mod">
        <pc:chgData name="Luciano Moreira" userId="81b8fdb4-f0e4-4457-95d0-b1edd3d5525c" providerId="ADAL" clId="{675B7749-5C25-4F76-A446-4779F4E2B149}" dt="2022-01-27T22:19:33.424" v="4669" actId="1076"/>
        <pc:sldMkLst>
          <pc:docMk/>
          <pc:sldMk cId="475112813" sldId="2134805964"/>
        </pc:sldMkLst>
        <pc:spChg chg="mod">
          <ac:chgData name="Luciano Moreira" userId="81b8fdb4-f0e4-4457-95d0-b1edd3d5525c" providerId="ADAL" clId="{675B7749-5C25-4F76-A446-4779F4E2B149}" dt="2022-01-27T22:19:30.507" v="4668" actId="1076"/>
          <ac:spMkLst>
            <pc:docMk/>
            <pc:sldMk cId="475112813" sldId="2134805964"/>
            <ac:spMk id="2" creationId="{F4E24130-22BE-475D-B99E-58E522A4A65B}"/>
          </ac:spMkLst>
        </pc:spChg>
        <pc:picChg chg="add del">
          <ac:chgData name="Luciano Moreira" userId="81b8fdb4-f0e4-4457-95d0-b1edd3d5525c" providerId="ADAL" clId="{675B7749-5C25-4F76-A446-4779F4E2B149}" dt="2022-01-18T11:06:39.968" v="1" actId="22"/>
          <ac:picMkLst>
            <pc:docMk/>
            <pc:sldMk cId="475112813" sldId="2134805964"/>
            <ac:picMk id="3" creationId="{02C69A7F-411A-4306-9017-DE48B4600089}"/>
          </ac:picMkLst>
        </pc:picChg>
        <pc:picChg chg="add del">
          <ac:chgData name="Luciano Moreira" userId="81b8fdb4-f0e4-4457-95d0-b1edd3d5525c" providerId="ADAL" clId="{675B7749-5C25-4F76-A446-4779F4E2B149}" dt="2022-01-18T11:10:30.696" v="41"/>
          <ac:picMkLst>
            <pc:docMk/>
            <pc:sldMk cId="475112813" sldId="2134805964"/>
            <ac:picMk id="1026" creationId="{E24173FC-7A4D-403D-9371-F84F04BA4B72}"/>
          </ac:picMkLst>
        </pc:picChg>
        <pc:picChg chg="mod">
          <ac:chgData name="Luciano Moreira" userId="81b8fdb4-f0e4-4457-95d0-b1edd3d5525c" providerId="ADAL" clId="{675B7749-5C25-4F76-A446-4779F4E2B149}" dt="2022-01-27T22:19:33.424" v="4669" actId="1076"/>
          <ac:picMkLst>
            <pc:docMk/>
            <pc:sldMk cId="475112813" sldId="2134805964"/>
            <ac:picMk id="3074" creationId="{09C83576-C39F-4DCC-AFF6-18108B95D47E}"/>
          </ac:picMkLst>
        </pc:picChg>
      </pc:sldChg>
      <pc:sldChg chg="del">
        <pc:chgData name="Luciano Moreira" userId="81b8fdb4-f0e4-4457-95d0-b1edd3d5525c" providerId="ADAL" clId="{675B7749-5C25-4F76-A446-4779F4E2B149}" dt="2022-01-18T11:08:52.048" v="39" actId="47"/>
        <pc:sldMkLst>
          <pc:docMk/>
          <pc:sldMk cId="3629685351" sldId="2134805965"/>
        </pc:sldMkLst>
      </pc:sldChg>
      <pc:sldChg chg="addSp delSp modSp mod ord modNotesTx">
        <pc:chgData name="Luciano Moreira" userId="81b8fdb4-f0e4-4457-95d0-b1edd3d5525c" providerId="ADAL" clId="{675B7749-5C25-4F76-A446-4779F4E2B149}" dt="2022-02-04T16:36:33.091" v="6542"/>
        <pc:sldMkLst>
          <pc:docMk/>
          <pc:sldMk cId="4108420390" sldId="2134805966"/>
        </pc:sldMkLst>
        <pc:spChg chg="mod">
          <ac:chgData name="Luciano Moreira" userId="81b8fdb4-f0e4-4457-95d0-b1edd3d5525c" providerId="ADAL" clId="{675B7749-5C25-4F76-A446-4779F4E2B149}" dt="2022-01-18T11:49:45.447" v="983" actId="20577"/>
          <ac:spMkLst>
            <pc:docMk/>
            <pc:sldMk cId="4108420390" sldId="2134805966"/>
            <ac:spMk id="2" creationId="{0C9FAE3A-FFD1-492F-A3BB-2ED8E5F5DDC9}"/>
          </ac:spMkLst>
        </pc:spChg>
        <pc:spChg chg="del">
          <ac:chgData name="Luciano Moreira" userId="81b8fdb4-f0e4-4457-95d0-b1edd3d5525c" providerId="ADAL" clId="{675B7749-5C25-4F76-A446-4779F4E2B149}" dt="2022-01-18T11:49:48.206" v="984" actId="478"/>
          <ac:spMkLst>
            <pc:docMk/>
            <pc:sldMk cId="4108420390" sldId="2134805966"/>
            <ac:spMk id="3" creationId="{7F7BA38C-0B4E-42CA-9731-232C90993BE3}"/>
          </ac:spMkLst>
        </pc:spChg>
        <pc:spChg chg="add del mod">
          <ac:chgData name="Luciano Moreira" userId="81b8fdb4-f0e4-4457-95d0-b1edd3d5525c" providerId="ADAL" clId="{675B7749-5C25-4F76-A446-4779F4E2B149}" dt="2022-01-18T11:53:34.322" v="1011" actId="478"/>
          <ac:spMkLst>
            <pc:docMk/>
            <pc:sldMk cId="4108420390" sldId="2134805966"/>
            <ac:spMk id="5" creationId="{150663A0-1DDC-4C3B-94C3-360683E0FE44}"/>
          </ac:spMkLst>
        </pc:spChg>
        <pc:spChg chg="add del">
          <ac:chgData name="Luciano Moreira" userId="81b8fdb4-f0e4-4457-95d0-b1edd3d5525c" providerId="ADAL" clId="{675B7749-5C25-4F76-A446-4779F4E2B149}" dt="2022-01-18T11:49:49.872" v="986" actId="22"/>
          <ac:spMkLst>
            <pc:docMk/>
            <pc:sldMk cId="4108420390" sldId="2134805966"/>
            <ac:spMk id="7" creationId="{7F891454-D5B9-4845-83D2-F6B42B9A91AD}"/>
          </ac:spMkLst>
        </pc:spChg>
        <pc:spChg chg="add mod">
          <ac:chgData name="Luciano Moreira" userId="81b8fdb4-f0e4-4457-95d0-b1edd3d5525c" providerId="ADAL" clId="{675B7749-5C25-4F76-A446-4779F4E2B149}" dt="2022-01-18T11:53:34.322" v="1011" actId="478"/>
          <ac:spMkLst>
            <pc:docMk/>
            <pc:sldMk cId="4108420390" sldId="2134805966"/>
            <ac:spMk id="9" creationId="{93BAB0A5-9F96-4853-BB1B-07979C34AC24}"/>
          </ac:spMkLst>
        </pc:spChg>
        <pc:graphicFrameChg chg="add mod modGraphic">
          <ac:chgData name="Luciano Moreira" userId="81b8fdb4-f0e4-4457-95d0-b1edd3d5525c" providerId="ADAL" clId="{675B7749-5C25-4F76-A446-4779F4E2B149}" dt="2022-01-18T11:54:05.588" v="1027" actId="113"/>
          <ac:graphicFrameMkLst>
            <pc:docMk/>
            <pc:sldMk cId="4108420390" sldId="2134805966"/>
            <ac:graphicFrameMk id="10" creationId="{7723070E-D18C-4D5D-95A0-BA6D48AFB526}"/>
          </ac:graphicFrameMkLst>
        </pc:graphicFrameChg>
      </pc:sldChg>
      <pc:sldChg chg="addSp delSp modSp add mod modShow modNotesTx">
        <pc:chgData name="Luciano Moreira" userId="81b8fdb4-f0e4-4457-95d0-b1edd3d5525c" providerId="ADAL" clId="{675B7749-5C25-4F76-A446-4779F4E2B149}" dt="2022-03-16T14:15:42.938" v="6654" actId="729"/>
        <pc:sldMkLst>
          <pc:docMk/>
          <pc:sldMk cId="1900988289" sldId="2134805967"/>
        </pc:sldMkLst>
        <pc:spChg chg="add del mod">
          <ac:chgData name="Luciano Moreira" userId="81b8fdb4-f0e4-4457-95d0-b1edd3d5525c" providerId="ADAL" clId="{675B7749-5C25-4F76-A446-4779F4E2B149}" dt="2022-01-18T11:08:50.456" v="38"/>
          <ac:spMkLst>
            <pc:docMk/>
            <pc:sldMk cId="1900988289" sldId="2134805967"/>
            <ac:spMk id="5" creationId="{3909ABDF-7406-44EE-9970-AF52153CBC16}"/>
          </ac:spMkLst>
        </pc:spChg>
        <pc:spChg chg="add mod">
          <ac:chgData name="Luciano Moreira" userId="81b8fdb4-f0e4-4457-95d0-b1edd3d5525c" providerId="ADAL" clId="{675B7749-5C25-4F76-A446-4779F4E2B149}" dt="2022-01-18T11:08:18.823" v="35" actId="1076"/>
          <ac:spMkLst>
            <pc:docMk/>
            <pc:sldMk cId="1900988289" sldId="2134805967"/>
            <ac:spMk id="7" creationId="{8E564370-C6B7-4AE3-8429-3B5EABD1E8B8}"/>
          </ac:spMkLst>
        </pc:spChg>
        <pc:picChg chg="add mod">
          <ac:chgData name="Luciano Moreira" userId="81b8fdb4-f0e4-4457-95d0-b1edd3d5525c" providerId="ADAL" clId="{675B7749-5C25-4F76-A446-4779F4E2B149}" dt="2022-01-18T11:11:02.279" v="66" actId="1076"/>
          <ac:picMkLst>
            <pc:docMk/>
            <pc:sldMk cId="1900988289" sldId="2134805967"/>
            <ac:picMk id="3" creationId="{0EFD8108-9609-4FBD-869D-DA95AB3F8D8E}"/>
          </ac:picMkLst>
        </pc:picChg>
        <pc:picChg chg="del">
          <ac:chgData name="Luciano Moreira" userId="81b8fdb4-f0e4-4457-95d0-b1edd3d5525c" providerId="ADAL" clId="{675B7749-5C25-4F76-A446-4779F4E2B149}" dt="2022-01-18T11:06:43.758" v="3" actId="478"/>
          <ac:picMkLst>
            <pc:docMk/>
            <pc:sldMk cId="1900988289" sldId="2134805967"/>
            <ac:picMk id="3074" creationId="{09C83576-C39F-4DCC-AFF6-18108B95D47E}"/>
          </ac:picMkLst>
        </pc:picChg>
      </pc:sldChg>
      <pc:sldChg chg="addSp delSp modSp add mod modNotesTx">
        <pc:chgData name="Luciano Moreira" userId="81b8fdb4-f0e4-4457-95d0-b1edd3d5525c" providerId="ADAL" clId="{675B7749-5C25-4F76-A446-4779F4E2B149}" dt="2022-01-27T22:24:41.822" v="4709" actId="20577"/>
        <pc:sldMkLst>
          <pc:docMk/>
          <pc:sldMk cId="800560644" sldId="2134805968"/>
        </pc:sldMkLst>
        <pc:spChg chg="mod">
          <ac:chgData name="Luciano Moreira" userId="81b8fdb4-f0e4-4457-95d0-b1edd3d5525c" providerId="ADAL" clId="{675B7749-5C25-4F76-A446-4779F4E2B149}" dt="2022-01-18T11:10:40.352" v="59" actId="20577"/>
          <ac:spMkLst>
            <pc:docMk/>
            <pc:sldMk cId="800560644" sldId="2134805968"/>
            <ac:spMk id="2" creationId="{F4E24130-22BE-475D-B99E-58E522A4A65B}"/>
          </ac:spMkLst>
        </pc:spChg>
        <pc:picChg chg="add mod">
          <ac:chgData name="Luciano Moreira" userId="81b8fdb4-f0e4-4457-95d0-b1edd3d5525c" providerId="ADAL" clId="{675B7749-5C25-4F76-A446-4779F4E2B149}" dt="2022-01-18T11:10:49.804" v="62" actId="1076"/>
          <ac:picMkLst>
            <pc:docMk/>
            <pc:sldMk cId="800560644" sldId="2134805968"/>
            <ac:picMk id="2050" creationId="{AB6B9C7F-50CB-4565-B6B6-F025F561C71E}"/>
          </ac:picMkLst>
        </pc:picChg>
        <pc:picChg chg="del">
          <ac:chgData name="Luciano Moreira" userId="81b8fdb4-f0e4-4457-95d0-b1edd3d5525c" providerId="ADAL" clId="{675B7749-5C25-4F76-A446-4779F4E2B149}" dt="2022-01-18T11:10:34.217" v="43" actId="478"/>
          <ac:picMkLst>
            <pc:docMk/>
            <pc:sldMk cId="800560644" sldId="2134805968"/>
            <ac:picMk id="3074" creationId="{09C83576-C39F-4DCC-AFF6-18108B95D47E}"/>
          </ac:picMkLst>
        </pc:picChg>
      </pc:sldChg>
      <pc:sldChg chg="addSp delSp modSp add mod ord modShow modNotesTx">
        <pc:chgData name="Luciano Moreira" userId="81b8fdb4-f0e4-4457-95d0-b1edd3d5525c" providerId="ADAL" clId="{675B7749-5C25-4F76-A446-4779F4E2B149}" dt="2022-03-16T14:15:47.126" v="6655" actId="729"/>
        <pc:sldMkLst>
          <pc:docMk/>
          <pc:sldMk cId="2689382057" sldId="2134805969"/>
        </pc:sldMkLst>
        <pc:spChg chg="mod">
          <ac:chgData name="Luciano Moreira" userId="81b8fdb4-f0e4-4457-95d0-b1edd3d5525c" providerId="ADAL" clId="{675B7749-5C25-4F76-A446-4779F4E2B149}" dt="2022-01-28T01:12:56.984" v="4835" actId="20577"/>
          <ac:spMkLst>
            <pc:docMk/>
            <pc:sldMk cId="2689382057" sldId="2134805969"/>
            <ac:spMk id="2" creationId="{F4E24130-22BE-475D-B99E-58E522A4A65B}"/>
          </ac:spMkLst>
        </pc:spChg>
        <pc:spChg chg="mod">
          <ac:chgData name="Luciano Moreira" userId="81b8fdb4-f0e4-4457-95d0-b1edd3d5525c" providerId="ADAL" clId="{675B7749-5C25-4F76-A446-4779F4E2B149}" dt="2022-01-18T11:12:17.016" v="72" actId="1076"/>
          <ac:spMkLst>
            <pc:docMk/>
            <pc:sldMk cId="2689382057" sldId="2134805969"/>
            <ac:spMk id="7" creationId="{8E564370-C6B7-4AE3-8429-3B5EABD1E8B8}"/>
          </ac:spMkLst>
        </pc:spChg>
        <pc:picChg chg="del">
          <ac:chgData name="Luciano Moreira" userId="81b8fdb4-f0e4-4457-95d0-b1edd3d5525c" providerId="ADAL" clId="{675B7749-5C25-4F76-A446-4779F4E2B149}" dt="2022-01-18T11:12:18.555" v="73" actId="478"/>
          <ac:picMkLst>
            <pc:docMk/>
            <pc:sldMk cId="2689382057" sldId="2134805969"/>
            <ac:picMk id="3" creationId="{0EFD8108-9609-4FBD-869D-DA95AB3F8D8E}"/>
          </ac:picMkLst>
        </pc:picChg>
        <pc:picChg chg="add mod">
          <ac:chgData name="Luciano Moreira" userId="81b8fdb4-f0e4-4457-95d0-b1edd3d5525c" providerId="ADAL" clId="{675B7749-5C25-4F76-A446-4779F4E2B149}" dt="2022-01-28T01:09:59.786" v="4720" actId="1076"/>
          <ac:picMkLst>
            <pc:docMk/>
            <pc:sldMk cId="2689382057" sldId="2134805969"/>
            <ac:picMk id="4" creationId="{30CB64F8-1787-449C-A0E2-EB135377CBD4}"/>
          </ac:picMkLst>
        </pc:picChg>
        <pc:picChg chg="add del mod">
          <ac:chgData name="Luciano Moreira" userId="81b8fdb4-f0e4-4457-95d0-b1edd3d5525c" providerId="ADAL" clId="{675B7749-5C25-4F76-A446-4779F4E2B149}" dt="2022-01-28T01:09:46.757" v="4715" actId="478"/>
          <ac:picMkLst>
            <pc:docMk/>
            <pc:sldMk cId="2689382057" sldId="2134805969"/>
            <ac:picMk id="5" creationId="{D6FFE895-8B50-4BC5-94D9-0E931B3ABB63}"/>
          </ac:picMkLst>
        </pc:picChg>
      </pc:sldChg>
      <pc:sldChg chg="new del">
        <pc:chgData name="Luciano Moreira" userId="81b8fdb4-f0e4-4457-95d0-b1edd3d5525c" providerId="ADAL" clId="{675B7749-5C25-4F76-A446-4779F4E2B149}" dt="2022-01-18T11:13:59.803" v="103" actId="680"/>
        <pc:sldMkLst>
          <pc:docMk/>
          <pc:sldMk cId="1972407752" sldId="2134805970"/>
        </pc:sldMkLst>
      </pc:sldChg>
      <pc:sldChg chg="modSp new del mod modNotesTx">
        <pc:chgData name="Luciano Moreira" userId="81b8fdb4-f0e4-4457-95d0-b1edd3d5525c" providerId="ADAL" clId="{675B7749-5C25-4F76-A446-4779F4E2B149}" dt="2022-01-18T11:15:01.161" v="167" actId="47"/>
        <pc:sldMkLst>
          <pc:docMk/>
          <pc:sldMk cId="1979246351" sldId="2134805970"/>
        </pc:sldMkLst>
        <pc:spChg chg="mod">
          <ac:chgData name="Luciano Moreira" userId="81b8fdb4-f0e4-4457-95d0-b1edd3d5525c" providerId="ADAL" clId="{675B7749-5C25-4F76-A446-4779F4E2B149}" dt="2022-01-18T11:14:45.886" v="156" actId="20577"/>
          <ac:spMkLst>
            <pc:docMk/>
            <pc:sldMk cId="1979246351" sldId="2134805970"/>
            <ac:spMk id="2" creationId="{1EBB58AC-1352-4905-B933-EFAF44F5C1E4}"/>
          </ac:spMkLst>
        </pc:spChg>
      </pc:sldChg>
      <pc:sldChg chg="modSp new mod ord modShow modNotesTx">
        <pc:chgData name="Luciano Moreira" userId="81b8fdb4-f0e4-4457-95d0-b1edd3d5525c" providerId="ADAL" clId="{675B7749-5C25-4F76-A446-4779F4E2B149}" dt="2022-01-28T13:56:52.257" v="5256" actId="729"/>
        <pc:sldMkLst>
          <pc:docMk/>
          <pc:sldMk cId="126400210" sldId="2134805971"/>
        </pc:sldMkLst>
        <pc:spChg chg="mod">
          <ac:chgData name="Luciano Moreira" userId="81b8fdb4-f0e4-4457-95d0-b1edd3d5525c" providerId="ADAL" clId="{675B7749-5C25-4F76-A446-4779F4E2B149}" dt="2022-01-18T11:14:58.976" v="166" actId="403"/>
          <ac:spMkLst>
            <pc:docMk/>
            <pc:sldMk cId="126400210" sldId="2134805971"/>
            <ac:spMk id="2" creationId="{C0EFD767-14C8-400B-99C6-E94D04303339}"/>
          </ac:spMkLst>
        </pc:spChg>
      </pc:sldChg>
      <pc:sldChg chg="addSp delSp modSp add mod modAnim">
        <pc:chgData name="Luciano Moreira" userId="81b8fdb4-f0e4-4457-95d0-b1edd3d5525c" providerId="ADAL" clId="{675B7749-5C25-4F76-A446-4779F4E2B149}" dt="2022-01-18T11:30:49.249" v="630"/>
        <pc:sldMkLst>
          <pc:docMk/>
          <pc:sldMk cId="3832702447" sldId="2134805972"/>
        </pc:sldMkLst>
        <pc:spChg chg="add mod">
          <ac:chgData name="Luciano Moreira" userId="81b8fdb4-f0e4-4457-95d0-b1edd3d5525c" providerId="ADAL" clId="{675B7749-5C25-4F76-A446-4779F4E2B149}" dt="2022-01-18T11:23:46.818" v="396" actId="1076"/>
          <ac:spMkLst>
            <pc:docMk/>
            <pc:sldMk cId="3832702447" sldId="2134805972"/>
            <ac:spMk id="2" creationId="{937A5EF3-2ECF-43B7-A828-FD79DCBC54DB}"/>
          </ac:spMkLst>
        </pc:spChg>
        <pc:spChg chg="add mod">
          <ac:chgData name="Luciano Moreira" userId="81b8fdb4-f0e4-4457-95d0-b1edd3d5525c" providerId="ADAL" clId="{675B7749-5C25-4F76-A446-4779F4E2B149}" dt="2022-01-18T11:28:51.002" v="552" actId="20577"/>
          <ac:spMkLst>
            <pc:docMk/>
            <pc:sldMk cId="3832702447" sldId="2134805972"/>
            <ac:spMk id="3" creationId="{C2D1FB06-422F-4AEE-BEB3-AC379829F57F}"/>
          </ac:spMkLst>
        </pc:spChg>
        <pc:spChg chg="mod">
          <ac:chgData name="Luciano Moreira" userId="81b8fdb4-f0e4-4457-95d0-b1edd3d5525c" providerId="ADAL" clId="{675B7749-5C25-4F76-A446-4779F4E2B149}" dt="2022-01-18T11:29:36.824" v="556"/>
          <ac:spMkLst>
            <pc:docMk/>
            <pc:sldMk cId="3832702447" sldId="2134805972"/>
            <ac:spMk id="4" creationId="{B186F71E-71E2-4937-98EF-4DD092D82B95}"/>
          </ac:spMkLst>
        </pc:spChg>
        <pc:spChg chg="mod">
          <ac:chgData name="Luciano Moreira" userId="81b8fdb4-f0e4-4457-95d0-b1edd3d5525c" providerId="ADAL" clId="{675B7749-5C25-4F76-A446-4779F4E2B149}" dt="2022-01-18T11:29:39.309" v="559"/>
          <ac:spMkLst>
            <pc:docMk/>
            <pc:sldMk cId="3832702447" sldId="2134805972"/>
            <ac:spMk id="5" creationId="{2C7D219E-CF05-43C6-B4F5-A3DD4C981587}"/>
          </ac:spMkLst>
        </pc:spChg>
        <pc:spChg chg="del">
          <ac:chgData name="Luciano Moreira" userId="81b8fdb4-f0e4-4457-95d0-b1edd3d5525c" providerId="ADAL" clId="{675B7749-5C25-4F76-A446-4779F4E2B149}" dt="2022-01-18T11:29:00.041" v="553" actId="478"/>
          <ac:spMkLst>
            <pc:docMk/>
            <pc:sldMk cId="3832702447" sldId="2134805972"/>
            <ac:spMk id="6" creationId="{0E68CE58-8FD8-4DD9-BA3E-CB8C10216C5C}"/>
          </ac:spMkLst>
        </pc:spChg>
        <pc:spChg chg="del">
          <ac:chgData name="Luciano Moreira" userId="81b8fdb4-f0e4-4457-95d0-b1edd3d5525c" providerId="ADAL" clId="{675B7749-5C25-4F76-A446-4779F4E2B149}" dt="2022-01-18T11:29:00.041" v="553" actId="478"/>
          <ac:spMkLst>
            <pc:docMk/>
            <pc:sldMk cId="3832702447" sldId="2134805972"/>
            <ac:spMk id="8" creationId="{5CC8B014-728F-4817-A1A1-34413801D569}"/>
          </ac:spMkLst>
        </pc:spChg>
        <pc:spChg chg="del">
          <ac:chgData name="Luciano Moreira" userId="81b8fdb4-f0e4-4457-95d0-b1edd3d5525c" providerId="ADAL" clId="{675B7749-5C25-4F76-A446-4779F4E2B149}" dt="2022-01-18T11:29:00.041" v="553" actId="478"/>
          <ac:spMkLst>
            <pc:docMk/>
            <pc:sldMk cId="3832702447" sldId="2134805972"/>
            <ac:spMk id="10" creationId="{536F5AE4-34D8-48D5-9E73-2D410CC54AFF}"/>
          </ac:spMkLst>
        </pc:spChg>
        <pc:spChg chg="add mod">
          <ac:chgData name="Luciano Moreira" userId="81b8fdb4-f0e4-4457-95d0-b1edd3d5525c" providerId="ADAL" clId="{675B7749-5C25-4F76-A446-4779F4E2B149}" dt="2022-01-18T11:30:42.611" v="629" actId="1076"/>
          <ac:spMkLst>
            <pc:docMk/>
            <pc:sldMk cId="3832702447" sldId="2134805972"/>
            <ac:spMk id="12" creationId="{74B2C9C0-DC8D-464B-8413-E47B32BB3086}"/>
          </ac:spMkLst>
        </pc:spChg>
        <pc:spChg chg="mod">
          <ac:chgData name="Luciano Moreira" userId="81b8fdb4-f0e4-4457-95d0-b1edd3d5525c" providerId="ADAL" clId="{675B7749-5C25-4F76-A446-4779F4E2B149}" dt="2022-01-18T11:23:33.533" v="392" actId="1076"/>
          <ac:spMkLst>
            <pc:docMk/>
            <pc:sldMk cId="3832702447" sldId="2134805972"/>
            <ac:spMk id="30" creationId="{9D33D136-44AD-49F3-A0FF-38BF4478FDF4}"/>
          </ac:spMkLst>
        </pc:spChg>
        <pc:spChg chg="mod">
          <ac:chgData name="Luciano Moreira" userId="81b8fdb4-f0e4-4457-95d0-b1edd3d5525c" providerId="ADAL" clId="{675B7749-5C25-4F76-A446-4779F4E2B149}" dt="2022-01-18T11:23:31.051" v="391" actId="1076"/>
          <ac:spMkLst>
            <pc:docMk/>
            <pc:sldMk cId="3832702447" sldId="2134805972"/>
            <ac:spMk id="39" creationId="{7F635E69-5A06-4342-B081-C20112FEF60F}"/>
          </ac:spMkLst>
        </pc:spChg>
        <pc:cxnChg chg="del">
          <ac:chgData name="Luciano Moreira" userId="81b8fdb4-f0e4-4457-95d0-b1edd3d5525c" providerId="ADAL" clId="{675B7749-5C25-4F76-A446-4779F4E2B149}" dt="2022-01-18T11:23:28.306" v="390" actId="478"/>
          <ac:cxnSpMkLst>
            <pc:docMk/>
            <pc:sldMk cId="3832702447" sldId="2134805972"/>
            <ac:cxnSpMk id="14" creationId="{42A4B418-39A2-4FDB-BE69-24D9EFC095D0}"/>
          </ac:cxnSpMkLst>
        </pc:cxnChg>
        <pc:cxnChg chg="del">
          <ac:chgData name="Luciano Moreira" userId="81b8fdb4-f0e4-4457-95d0-b1edd3d5525c" providerId="ADAL" clId="{675B7749-5C25-4F76-A446-4779F4E2B149}" dt="2022-01-18T11:23:28.306" v="390" actId="478"/>
          <ac:cxnSpMkLst>
            <pc:docMk/>
            <pc:sldMk cId="3832702447" sldId="2134805972"/>
            <ac:cxnSpMk id="20" creationId="{9DB55322-191D-4830-82F4-F1B070C6512B}"/>
          </ac:cxnSpMkLst>
        </pc:cxnChg>
        <pc:cxnChg chg="del">
          <ac:chgData name="Luciano Moreira" userId="81b8fdb4-f0e4-4457-95d0-b1edd3d5525c" providerId="ADAL" clId="{675B7749-5C25-4F76-A446-4779F4E2B149}" dt="2022-01-18T11:23:36.551" v="394" actId="478"/>
          <ac:cxnSpMkLst>
            <pc:docMk/>
            <pc:sldMk cId="3832702447" sldId="2134805972"/>
            <ac:cxnSpMk id="34" creationId="{B37D8C18-7F9B-4F51-BAEB-6EA852C62348}"/>
          </ac:cxnSpMkLst>
        </pc:cxnChg>
        <pc:cxnChg chg="del">
          <ac:chgData name="Luciano Moreira" userId="81b8fdb4-f0e4-4457-95d0-b1edd3d5525c" providerId="ADAL" clId="{675B7749-5C25-4F76-A446-4779F4E2B149}" dt="2022-01-18T11:23:35.524" v="393" actId="478"/>
          <ac:cxnSpMkLst>
            <pc:docMk/>
            <pc:sldMk cId="3832702447" sldId="2134805972"/>
            <ac:cxnSpMk id="41" creationId="{2D6A4AD0-A812-42C8-B0C7-7BE236B2DFE5}"/>
          </ac:cxnSpMkLst>
        </pc:cxnChg>
      </pc:sldChg>
      <pc:sldChg chg="addSp delSp modSp add mod modAnim">
        <pc:chgData name="Luciano Moreira" userId="81b8fdb4-f0e4-4457-95d0-b1edd3d5525c" providerId="ADAL" clId="{675B7749-5C25-4F76-A446-4779F4E2B149}" dt="2022-01-18T11:38:21.898" v="714" actId="1076"/>
        <pc:sldMkLst>
          <pc:docMk/>
          <pc:sldMk cId="3236744545" sldId="2134805973"/>
        </pc:sldMkLst>
        <pc:spChg chg="del">
          <ac:chgData name="Luciano Moreira" userId="81b8fdb4-f0e4-4457-95d0-b1edd3d5525c" providerId="ADAL" clId="{675B7749-5C25-4F76-A446-4779F4E2B149}" dt="2022-01-18T11:34:29.238" v="693" actId="478"/>
          <ac:spMkLst>
            <pc:docMk/>
            <pc:sldMk cId="3236744545" sldId="2134805973"/>
            <ac:spMk id="12" creationId="{74B2C9C0-DC8D-464B-8413-E47B32BB3086}"/>
          </ac:spMkLst>
        </pc:spChg>
        <pc:spChg chg="add mod">
          <ac:chgData name="Luciano Moreira" userId="81b8fdb4-f0e4-4457-95d0-b1edd3d5525c" providerId="ADAL" clId="{675B7749-5C25-4F76-A446-4779F4E2B149}" dt="2022-01-18T11:35:13.089" v="699"/>
          <ac:spMkLst>
            <pc:docMk/>
            <pc:sldMk cId="3236744545" sldId="2134805973"/>
            <ac:spMk id="24" creationId="{0A6904B5-F3F6-48FB-9749-F41C00C34F42}"/>
          </ac:spMkLst>
        </pc:spChg>
        <pc:spChg chg="add mod">
          <ac:chgData name="Luciano Moreira" userId="81b8fdb4-f0e4-4457-95d0-b1edd3d5525c" providerId="ADAL" clId="{675B7749-5C25-4F76-A446-4779F4E2B149}" dt="2022-01-18T11:34:56.447" v="695" actId="1076"/>
          <ac:spMkLst>
            <pc:docMk/>
            <pc:sldMk cId="3236744545" sldId="2134805973"/>
            <ac:spMk id="26" creationId="{E6F3F4F3-49EC-4355-8050-32FE7DEBC712}"/>
          </ac:spMkLst>
        </pc:spChg>
        <pc:spChg chg="add mod">
          <ac:chgData name="Luciano Moreira" userId="81b8fdb4-f0e4-4457-95d0-b1edd3d5525c" providerId="ADAL" clId="{675B7749-5C25-4F76-A446-4779F4E2B149}" dt="2022-01-18T11:35:15.923" v="701" actId="6549"/>
          <ac:spMkLst>
            <pc:docMk/>
            <pc:sldMk cId="3236744545" sldId="2134805973"/>
            <ac:spMk id="28" creationId="{E2E2D3E8-C3D5-431D-8AC3-C8DC17CE4498}"/>
          </ac:spMkLst>
        </pc:spChg>
        <pc:spChg chg="add mod">
          <ac:chgData name="Luciano Moreira" userId="81b8fdb4-f0e4-4457-95d0-b1edd3d5525c" providerId="ADAL" clId="{675B7749-5C25-4F76-A446-4779F4E2B149}" dt="2022-01-18T11:34:56.447" v="695" actId="1076"/>
          <ac:spMkLst>
            <pc:docMk/>
            <pc:sldMk cId="3236744545" sldId="2134805973"/>
            <ac:spMk id="29" creationId="{6E758591-BF96-4322-9D9C-DC7BAED72F03}"/>
          </ac:spMkLst>
        </pc:spChg>
        <pc:spChg chg="add mod">
          <ac:chgData name="Luciano Moreira" userId="81b8fdb4-f0e4-4457-95d0-b1edd3d5525c" providerId="ADAL" clId="{675B7749-5C25-4F76-A446-4779F4E2B149}" dt="2022-01-18T11:38:12.731" v="713" actId="1076"/>
          <ac:spMkLst>
            <pc:docMk/>
            <pc:sldMk cId="3236744545" sldId="2134805973"/>
            <ac:spMk id="32" creationId="{6EAA1488-8C77-425D-93EE-94E63CE3676D}"/>
          </ac:spMkLst>
        </pc:spChg>
        <pc:spChg chg="add mod">
          <ac:chgData name="Luciano Moreira" userId="81b8fdb4-f0e4-4457-95d0-b1edd3d5525c" providerId="ADAL" clId="{675B7749-5C25-4F76-A446-4779F4E2B149}" dt="2022-01-18T11:38:21.898" v="714" actId="1076"/>
          <ac:spMkLst>
            <pc:docMk/>
            <pc:sldMk cId="3236744545" sldId="2134805973"/>
            <ac:spMk id="38" creationId="{CAB6C157-7012-4A9F-B62E-B04E18B04559}"/>
          </ac:spMkLst>
        </pc:spChg>
        <pc:spChg chg="add del mod">
          <ac:chgData name="Luciano Moreira" userId="81b8fdb4-f0e4-4457-95d0-b1edd3d5525c" providerId="ADAL" clId="{675B7749-5C25-4F76-A446-4779F4E2B149}" dt="2022-01-18T11:37:11.395" v="708"/>
          <ac:spMkLst>
            <pc:docMk/>
            <pc:sldMk cId="3236744545" sldId="2134805973"/>
            <ac:spMk id="40" creationId="{D6768C58-A86D-44EA-A584-544EABF33EE6}"/>
          </ac:spMkLst>
        </pc:spChg>
        <pc:cxnChg chg="add mod">
          <ac:chgData name="Luciano Moreira" userId="81b8fdb4-f0e4-4457-95d0-b1edd3d5525c" providerId="ADAL" clId="{675B7749-5C25-4F76-A446-4779F4E2B149}" dt="2022-01-18T11:34:56.447" v="695" actId="1076"/>
          <ac:cxnSpMkLst>
            <pc:docMk/>
            <pc:sldMk cId="3236744545" sldId="2134805973"/>
            <ac:cxnSpMk id="34" creationId="{6DAA25C3-FB6F-4072-BC3A-C53832C79350}"/>
          </ac:cxnSpMkLst>
        </pc:cxnChg>
        <pc:cxnChg chg="add mod">
          <ac:chgData name="Luciano Moreira" userId="81b8fdb4-f0e4-4457-95d0-b1edd3d5525c" providerId="ADAL" clId="{675B7749-5C25-4F76-A446-4779F4E2B149}" dt="2022-01-18T11:34:56.447" v="695" actId="1076"/>
          <ac:cxnSpMkLst>
            <pc:docMk/>
            <pc:sldMk cId="3236744545" sldId="2134805973"/>
            <ac:cxnSpMk id="36" creationId="{482318F8-9F45-4D7C-98E5-243D32D8EA57}"/>
          </ac:cxnSpMkLst>
        </pc:cxnChg>
      </pc:sldChg>
      <pc:sldChg chg="addSp delSp modSp add mod modAnim">
        <pc:chgData name="Luciano Moreira" userId="81b8fdb4-f0e4-4457-95d0-b1edd3d5525c" providerId="ADAL" clId="{675B7749-5C25-4F76-A446-4779F4E2B149}" dt="2022-02-04T16:30:29.618" v="6538" actId="20577"/>
        <pc:sldMkLst>
          <pc:docMk/>
          <pc:sldMk cId="1183713708" sldId="2134805974"/>
        </pc:sldMkLst>
        <pc:spChg chg="del">
          <ac:chgData name="Luciano Moreira" userId="81b8fdb4-f0e4-4457-95d0-b1edd3d5525c" providerId="ADAL" clId="{675B7749-5C25-4F76-A446-4779F4E2B149}" dt="2022-01-18T11:39:28.103" v="721" actId="478"/>
          <ac:spMkLst>
            <pc:docMk/>
            <pc:sldMk cId="1183713708" sldId="2134805974"/>
            <ac:spMk id="2" creationId="{937A5EF3-2ECF-43B7-A828-FD79DCBC54DB}"/>
          </ac:spMkLst>
        </pc:spChg>
        <pc:spChg chg="del">
          <ac:chgData name="Luciano Moreira" userId="81b8fdb4-f0e4-4457-95d0-b1edd3d5525c" providerId="ADAL" clId="{675B7749-5C25-4F76-A446-4779F4E2B149}" dt="2022-01-18T11:39:28.103" v="721" actId="478"/>
          <ac:spMkLst>
            <pc:docMk/>
            <pc:sldMk cId="1183713708" sldId="2134805974"/>
            <ac:spMk id="3" creationId="{C2D1FB06-422F-4AEE-BEB3-AC379829F57F}"/>
          </ac:spMkLst>
        </pc:spChg>
        <pc:spChg chg="mod">
          <ac:chgData name="Luciano Moreira" userId="81b8fdb4-f0e4-4457-95d0-b1edd3d5525c" providerId="ADAL" clId="{675B7749-5C25-4F76-A446-4779F4E2B149}" dt="2022-01-18T11:44:59.429" v="885" actId="1076"/>
          <ac:spMkLst>
            <pc:docMk/>
            <pc:sldMk cId="1183713708" sldId="2134805974"/>
            <ac:spMk id="4" creationId="{B186F71E-71E2-4937-98EF-4DD092D82B95}"/>
          </ac:spMkLst>
        </pc:spChg>
        <pc:spChg chg="del">
          <ac:chgData name="Luciano Moreira" userId="81b8fdb4-f0e4-4457-95d0-b1edd3d5525c" providerId="ADAL" clId="{675B7749-5C25-4F76-A446-4779F4E2B149}" dt="2022-01-18T11:39:28.103" v="721" actId="478"/>
          <ac:spMkLst>
            <pc:docMk/>
            <pc:sldMk cId="1183713708" sldId="2134805974"/>
            <ac:spMk id="5" creationId="{2C7D219E-CF05-43C6-B4F5-A3DD4C981587}"/>
          </ac:spMkLst>
        </pc:spChg>
        <pc:spChg chg="add mod">
          <ac:chgData name="Luciano Moreira" userId="81b8fdb4-f0e4-4457-95d0-b1edd3d5525c" providerId="ADAL" clId="{675B7749-5C25-4F76-A446-4779F4E2B149}" dt="2022-01-18T11:39:10.305" v="719" actId="1076"/>
          <ac:spMkLst>
            <pc:docMk/>
            <pc:sldMk cId="1183713708" sldId="2134805974"/>
            <ac:spMk id="8" creationId="{D0D38ECE-AEA6-4786-A14F-ABFA95D358CC}"/>
          </ac:spMkLst>
        </pc:spChg>
        <pc:spChg chg="add mod">
          <ac:chgData name="Luciano Moreira" userId="81b8fdb4-f0e4-4457-95d0-b1edd3d5525c" providerId="ADAL" clId="{675B7749-5C25-4F76-A446-4779F4E2B149}" dt="2022-01-18T11:39:10.305" v="719" actId="1076"/>
          <ac:spMkLst>
            <pc:docMk/>
            <pc:sldMk cId="1183713708" sldId="2134805974"/>
            <ac:spMk id="10" creationId="{0F24C4A1-08E9-4627-A860-7E8BD8030B96}"/>
          </ac:spMkLst>
        </pc:spChg>
        <pc:spChg chg="add mod">
          <ac:chgData name="Luciano Moreira" userId="81b8fdb4-f0e4-4457-95d0-b1edd3d5525c" providerId="ADAL" clId="{675B7749-5C25-4F76-A446-4779F4E2B149}" dt="2022-01-18T11:39:10.305" v="719" actId="1076"/>
          <ac:spMkLst>
            <pc:docMk/>
            <pc:sldMk cId="1183713708" sldId="2134805974"/>
            <ac:spMk id="14" creationId="{9F27E25C-40FD-431F-B259-B479509411E0}"/>
          </ac:spMkLst>
        </pc:spChg>
        <pc:spChg chg="add mod">
          <ac:chgData name="Luciano Moreira" userId="81b8fdb4-f0e4-4457-95d0-b1edd3d5525c" providerId="ADAL" clId="{675B7749-5C25-4F76-A446-4779F4E2B149}" dt="2022-01-18T11:39:10.305" v="719" actId="1076"/>
          <ac:spMkLst>
            <pc:docMk/>
            <pc:sldMk cId="1183713708" sldId="2134805974"/>
            <ac:spMk id="16" creationId="{60AF257C-8EE4-41B4-BE97-CEE4637BF6D8}"/>
          </ac:spMkLst>
        </pc:spChg>
        <pc:spChg chg="mod">
          <ac:chgData name="Luciano Moreira" userId="81b8fdb4-f0e4-4457-95d0-b1edd3d5525c" providerId="ADAL" clId="{675B7749-5C25-4F76-A446-4779F4E2B149}" dt="2022-01-18T11:44:59.429" v="885" actId="1076"/>
          <ac:spMkLst>
            <pc:docMk/>
            <pc:sldMk cId="1183713708" sldId="2134805974"/>
            <ac:spMk id="17" creationId="{94E059C6-817F-44AF-94E9-402179D42074}"/>
          </ac:spMkLst>
        </pc:spChg>
        <pc:spChg chg="mod">
          <ac:chgData name="Luciano Moreira" userId="81b8fdb4-f0e4-4457-95d0-b1edd3d5525c" providerId="ADAL" clId="{675B7749-5C25-4F76-A446-4779F4E2B149}" dt="2022-01-18T11:44:59.429" v="885" actId="1076"/>
          <ac:spMkLst>
            <pc:docMk/>
            <pc:sldMk cId="1183713708" sldId="2134805974"/>
            <ac:spMk id="23" creationId="{13B5173C-E374-4A2B-B9F6-B0116A250CE3}"/>
          </ac:spMkLst>
        </pc:spChg>
        <pc:spChg chg="del">
          <ac:chgData name="Luciano Moreira" userId="81b8fdb4-f0e4-4457-95d0-b1edd3d5525c" providerId="ADAL" clId="{675B7749-5C25-4F76-A446-4779F4E2B149}" dt="2022-01-18T11:39:28.103" v="721" actId="478"/>
          <ac:spMkLst>
            <pc:docMk/>
            <pc:sldMk cId="1183713708" sldId="2134805974"/>
            <ac:spMk id="25" creationId="{6ADF2083-A49F-4C78-BDDE-9980126BECB7}"/>
          </ac:spMkLst>
        </pc:spChg>
        <pc:spChg chg="del">
          <ac:chgData name="Luciano Moreira" userId="81b8fdb4-f0e4-4457-95d0-b1edd3d5525c" providerId="ADAL" clId="{675B7749-5C25-4F76-A446-4779F4E2B149}" dt="2022-01-18T11:39:28.103" v="721" actId="478"/>
          <ac:spMkLst>
            <pc:docMk/>
            <pc:sldMk cId="1183713708" sldId="2134805974"/>
            <ac:spMk id="27" creationId="{6F4F1A92-3F47-49AB-B6EF-E91F89B48F77}"/>
          </ac:spMkLst>
        </pc:spChg>
        <pc:spChg chg="mod">
          <ac:chgData name="Luciano Moreira" userId="81b8fdb4-f0e4-4457-95d0-b1edd3d5525c" providerId="ADAL" clId="{675B7749-5C25-4F76-A446-4779F4E2B149}" dt="2022-01-18T11:44:59.429" v="885" actId="1076"/>
          <ac:spMkLst>
            <pc:docMk/>
            <pc:sldMk cId="1183713708" sldId="2134805974"/>
            <ac:spMk id="31" creationId="{0614CA0D-0476-4426-B6B7-B3408B1F606D}"/>
          </ac:spMkLst>
        </pc:spChg>
        <pc:spChg chg="mod">
          <ac:chgData name="Luciano Moreira" userId="81b8fdb4-f0e4-4457-95d0-b1edd3d5525c" providerId="ADAL" clId="{675B7749-5C25-4F76-A446-4779F4E2B149}" dt="2022-01-18T11:44:59.429" v="885" actId="1076"/>
          <ac:spMkLst>
            <pc:docMk/>
            <pc:sldMk cId="1183713708" sldId="2134805974"/>
            <ac:spMk id="33" creationId="{0C4A0AD6-B873-4F13-B66C-3EAF49D8F247}"/>
          </ac:spMkLst>
        </pc:spChg>
        <pc:spChg chg="del">
          <ac:chgData name="Luciano Moreira" userId="81b8fdb4-f0e4-4457-95d0-b1edd3d5525c" providerId="ADAL" clId="{675B7749-5C25-4F76-A446-4779F4E2B149}" dt="2022-01-18T11:39:28.103" v="721" actId="478"/>
          <ac:spMkLst>
            <pc:docMk/>
            <pc:sldMk cId="1183713708" sldId="2134805974"/>
            <ac:spMk id="35" creationId="{30DCFC53-8BDD-49C6-9404-AF35AD3A270C}"/>
          </ac:spMkLst>
        </pc:spChg>
        <pc:spChg chg="del">
          <ac:chgData name="Luciano Moreira" userId="81b8fdb4-f0e4-4457-95d0-b1edd3d5525c" providerId="ADAL" clId="{675B7749-5C25-4F76-A446-4779F4E2B149}" dt="2022-01-18T11:39:28.103" v="721" actId="478"/>
          <ac:spMkLst>
            <pc:docMk/>
            <pc:sldMk cId="1183713708" sldId="2134805974"/>
            <ac:spMk id="37" creationId="{0C85E59F-3A05-4F4F-8697-FDD76069F486}"/>
          </ac:spMkLst>
        </pc:spChg>
        <pc:spChg chg="add mod">
          <ac:chgData name="Luciano Moreira" userId="81b8fdb4-f0e4-4457-95d0-b1edd3d5525c" providerId="ADAL" clId="{675B7749-5C25-4F76-A446-4779F4E2B149}" dt="2022-01-18T11:42:31.090" v="793" actId="1076"/>
          <ac:spMkLst>
            <pc:docMk/>
            <pc:sldMk cId="1183713708" sldId="2134805974"/>
            <ac:spMk id="46" creationId="{1B739968-A40C-4DE0-B584-0B6AC8AEBF80}"/>
          </ac:spMkLst>
        </pc:spChg>
        <pc:spChg chg="add mod">
          <ac:chgData name="Luciano Moreira" userId="81b8fdb4-f0e4-4457-95d0-b1edd3d5525c" providerId="ADAL" clId="{675B7749-5C25-4F76-A446-4779F4E2B149}" dt="2022-01-18T11:44:59.429" v="885" actId="1076"/>
          <ac:spMkLst>
            <pc:docMk/>
            <pc:sldMk cId="1183713708" sldId="2134805974"/>
            <ac:spMk id="48" creationId="{DB276AC3-5DCD-4E0F-AF5E-666607CD17AE}"/>
          </ac:spMkLst>
        </pc:spChg>
        <pc:spChg chg="add mod">
          <ac:chgData name="Luciano Moreira" userId="81b8fdb4-f0e4-4457-95d0-b1edd3d5525c" providerId="ADAL" clId="{675B7749-5C25-4F76-A446-4779F4E2B149}" dt="2022-01-18T11:42:21.438" v="791" actId="1076"/>
          <ac:spMkLst>
            <pc:docMk/>
            <pc:sldMk cId="1183713708" sldId="2134805974"/>
            <ac:spMk id="50" creationId="{9C014257-D0D9-4F4B-B03F-45224B29F67C}"/>
          </ac:spMkLst>
        </pc:spChg>
        <pc:spChg chg="add mod">
          <ac:chgData name="Luciano Moreira" userId="81b8fdb4-f0e4-4457-95d0-b1edd3d5525c" providerId="ADAL" clId="{675B7749-5C25-4F76-A446-4779F4E2B149}" dt="2022-02-04T16:30:29.618" v="6538" actId="20577"/>
          <ac:spMkLst>
            <pc:docMk/>
            <pc:sldMk cId="1183713708" sldId="2134805974"/>
            <ac:spMk id="52" creationId="{EAF8DAD7-E02E-4C03-988A-5CCED5D5C004}"/>
          </ac:spMkLst>
        </pc:spChg>
        <pc:cxnChg chg="add mod">
          <ac:chgData name="Luciano Moreira" userId="81b8fdb4-f0e4-4457-95d0-b1edd3d5525c" providerId="ADAL" clId="{675B7749-5C25-4F76-A446-4779F4E2B149}" dt="2022-01-18T11:39:10.305" v="719" actId="1076"/>
          <ac:cxnSpMkLst>
            <pc:docMk/>
            <pc:sldMk cId="1183713708" sldId="2134805974"/>
            <ac:cxnSpMk id="6" creationId="{8B3F0F29-8969-4016-81C3-58728F27C4E3}"/>
          </ac:cxnSpMkLst>
        </pc:cxnChg>
        <pc:cxnChg chg="mod">
          <ac:chgData name="Luciano Moreira" userId="81b8fdb4-f0e4-4457-95d0-b1edd3d5525c" providerId="ADAL" clId="{675B7749-5C25-4F76-A446-4779F4E2B149}" dt="2022-01-18T11:45:02.339" v="886" actId="14100"/>
          <ac:cxnSpMkLst>
            <pc:docMk/>
            <pc:sldMk cId="1183713708" sldId="2134805974"/>
            <ac:cxnSpMk id="7" creationId="{745BF3B5-EA79-4B61-9849-0C32E8EAB153}"/>
          </ac:cxnSpMkLst>
        </pc:cxnChg>
        <pc:cxnChg chg="del">
          <ac:chgData name="Luciano Moreira" userId="81b8fdb4-f0e4-4457-95d0-b1edd3d5525c" providerId="ADAL" clId="{675B7749-5C25-4F76-A446-4779F4E2B149}" dt="2022-01-18T11:39:33.728" v="723" actId="478"/>
          <ac:cxnSpMkLst>
            <pc:docMk/>
            <pc:sldMk cId="1183713708" sldId="2134805974"/>
            <ac:cxnSpMk id="9" creationId="{BDB2F491-13B2-4A58-94AA-20107130F1EC}"/>
          </ac:cxnSpMkLst>
        </pc:cxnChg>
        <pc:cxnChg chg="add mod">
          <ac:chgData name="Luciano Moreira" userId="81b8fdb4-f0e4-4457-95d0-b1edd3d5525c" providerId="ADAL" clId="{675B7749-5C25-4F76-A446-4779F4E2B149}" dt="2022-01-18T11:39:10.305" v="719" actId="1076"/>
          <ac:cxnSpMkLst>
            <pc:docMk/>
            <pc:sldMk cId="1183713708" sldId="2134805974"/>
            <ac:cxnSpMk id="12" creationId="{A60744AF-D318-408F-B3D5-F9FCD89876EB}"/>
          </ac:cxnSpMkLst>
        </pc:cxnChg>
        <pc:cxnChg chg="mod">
          <ac:chgData name="Luciano Moreira" userId="81b8fdb4-f0e4-4457-95d0-b1edd3d5525c" providerId="ADAL" clId="{675B7749-5C25-4F76-A446-4779F4E2B149}" dt="2022-01-18T11:44:59.429" v="885" actId="1076"/>
          <ac:cxnSpMkLst>
            <pc:docMk/>
            <pc:sldMk cId="1183713708" sldId="2134805974"/>
            <ac:cxnSpMk id="13" creationId="{784464C0-2886-4A5F-B574-1FCFCA1AF6B6}"/>
          </ac:cxnSpMkLst>
        </pc:cxnChg>
        <pc:cxnChg chg="del">
          <ac:chgData name="Luciano Moreira" userId="81b8fdb4-f0e4-4457-95d0-b1edd3d5525c" providerId="ADAL" clId="{675B7749-5C25-4F76-A446-4779F4E2B149}" dt="2022-01-18T11:39:28.103" v="721" actId="478"/>
          <ac:cxnSpMkLst>
            <pc:docMk/>
            <pc:sldMk cId="1183713708" sldId="2134805974"/>
            <ac:cxnSpMk id="15" creationId="{024256CB-97BF-4798-A356-ED6D384D5482}"/>
          </ac:cxnSpMkLst>
        </pc:cxnChg>
        <pc:cxnChg chg="mod ord">
          <ac:chgData name="Luciano Moreira" userId="81b8fdb4-f0e4-4457-95d0-b1edd3d5525c" providerId="ADAL" clId="{675B7749-5C25-4F76-A446-4779F4E2B149}" dt="2022-01-18T11:39:39.704" v="725" actId="167"/>
          <ac:cxnSpMkLst>
            <pc:docMk/>
            <pc:sldMk cId="1183713708" sldId="2134805974"/>
            <ac:cxnSpMk id="34" creationId="{6DAA25C3-FB6F-4072-BC3A-C53832C79350}"/>
          </ac:cxnSpMkLst>
        </pc:cxnChg>
        <pc:cxnChg chg="mod">
          <ac:chgData name="Luciano Moreira" userId="81b8fdb4-f0e4-4457-95d0-b1edd3d5525c" providerId="ADAL" clId="{675B7749-5C25-4F76-A446-4779F4E2B149}" dt="2022-01-18T11:39:48.025" v="728" actId="14100"/>
          <ac:cxnSpMkLst>
            <pc:docMk/>
            <pc:sldMk cId="1183713708" sldId="2134805974"/>
            <ac:cxnSpMk id="36" creationId="{482318F8-9F45-4D7C-98E5-243D32D8EA57}"/>
          </ac:cxnSpMkLst>
        </pc:cxnChg>
      </pc:sldChg>
      <pc:sldChg chg="add del">
        <pc:chgData name="Luciano Moreira" userId="81b8fdb4-f0e4-4457-95d0-b1edd3d5525c" providerId="ADAL" clId="{675B7749-5C25-4F76-A446-4779F4E2B149}" dt="2022-01-18T11:38:26.467" v="715" actId="47"/>
        <pc:sldMkLst>
          <pc:docMk/>
          <pc:sldMk cId="2178792665" sldId="2134805974"/>
        </pc:sldMkLst>
      </pc:sldChg>
      <pc:sldChg chg="modSp add mod ord modNotesTx">
        <pc:chgData name="Luciano Moreira" userId="81b8fdb4-f0e4-4457-95d0-b1edd3d5525c" providerId="ADAL" clId="{675B7749-5C25-4F76-A446-4779F4E2B149}" dt="2022-02-25T17:54:27.123" v="6653" actId="20577"/>
        <pc:sldMkLst>
          <pc:docMk/>
          <pc:sldMk cId="1619479186" sldId="2134805975"/>
        </pc:sldMkLst>
        <pc:spChg chg="mod">
          <ac:chgData name="Luciano Moreira" userId="81b8fdb4-f0e4-4457-95d0-b1edd3d5525c" providerId="ADAL" clId="{675B7749-5C25-4F76-A446-4779F4E2B149}" dt="2022-01-18T12:04:39.514" v="1131" actId="20577"/>
          <ac:spMkLst>
            <pc:docMk/>
            <pc:sldMk cId="1619479186" sldId="2134805975"/>
            <ac:spMk id="2" creationId="{0C9FAE3A-FFD1-492F-A3BB-2ED8E5F5DDC9}"/>
          </ac:spMkLst>
        </pc:spChg>
        <pc:spChg chg="mod">
          <ac:chgData name="Luciano Moreira" userId="81b8fdb4-f0e4-4457-95d0-b1edd3d5525c" providerId="ADAL" clId="{675B7749-5C25-4F76-A446-4779F4E2B149}" dt="2022-02-25T17:54:27.123" v="6653" actId="20577"/>
          <ac:spMkLst>
            <pc:docMk/>
            <pc:sldMk cId="1619479186" sldId="2134805975"/>
            <ac:spMk id="3" creationId="{7F7BA38C-0B4E-42CA-9731-232C90993BE3}"/>
          </ac:spMkLst>
        </pc:spChg>
      </pc:sldChg>
      <pc:sldChg chg="modSp add mod ord modShow modNotesTx">
        <pc:chgData name="Luciano Moreira" userId="81b8fdb4-f0e4-4457-95d0-b1edd3d5525c" providerId="ADAL" clId="{675B7749-5C25-4F76-A446-4779F4E2B149}" dt="2022-02-03T22:38:16.312" v="6521" actId="20577"/>
        <pc:sldMkLst>
          <pc:docMk/>
          <pc:sldMk cId="3773410852" sldId="2134805976"/>
        </pc:sldMkLst>
        <pc:spChg chg="mod">
          <ac:chgData name="Luciano Moreira" userId="81b8fdb4-f0e4-4457-95d0-b1edd3d5525c" providerId="ADAL" clId="{675B7749-5C25-4F76-A446-4779F4E2B149}" dt="2022-02-03T22:38:16.312" v="6521" actId="20577"/>
          <ac:spMkLst>
            <pc:docMk/>
            <pc:sldMk cId="3773410852" sldId="2134805976"/>
            <ac:spMk id="2" creationId="{C0EFD767-14C8-400B-99C6-E94D04303339}"/>
          </ac:spMkLst>
        </pc:spChg>
      </pc:sldChg>
      <pc:sldChg chg="modSp add mod">
        <pc:chgData name="Luciano Moreira" userId="81b8fdb4-f0e4-4457-95d0-b1edd3d5525c" providerId="ADAL" clId="{675B7749-5C25-4F76-A446-4779F4E2B149}" dt="2022-01-19T13:53:23.304" v="4426" actId="20577"/>
        <pc:sldMkLst>
          <pc:docMk/>
          <pc:sldMk cId="1324390513" sldId="2134805977"/>
        </pc:sldMkLst>
        <pc:spChg chg="mod">
          <ac:chgData name="Luciano Moreira" userId="81b8fdb4-f0e4-4457-95d0-b1edd3d5525c" providerId="ADAL" clId="{675B7749-5C25-4F76-A446-4779F4E2B149}" dt="2022-01-19T13:53:23.304" v="4426" actId="20577"/>
          <ac:spMkLst>
            <pc:docMk/>
            <pc:sldMk cId="1324390513" sldId="2134805977"/>
            <ac:spMk id="2" creationId="{D6A5376F-A0DD-4803-B586-4ABB49308E71}"/>
          </ac:spMkLst>
        </pc:spChg>
      </pc:sldChg>
      <pc:sldChg chg="modSp add mod ord">
        <pc:chgData name="Luciano Moreira" userId="81b8fdb4-f0e4-4457-95d0-b1edd3d5525c" providerId="ADAL" clId="{675B7749-5C25-4F76-A446-4779F4E2B149}" dt="2022-02-04T16:42:45.897" v="6560" actId="20577"/>
        <pc:sldMkLst>
          <pc:docMk/>
          <pc:sldMk cId="3349035450" sldId="2134805978"/>
        </pc:sldMkLst>
        <pc:spChg chg="mod">
          <ac:chgData name="Luciano Moreira" userId="81b8fdb4-f0e4-4457-95d0-b1edd3d5525c" providerId="ADAL" clId="{675B7749-5C25-4F76-A446-4779F4E2B149}" dt="2022-02-04T16:42:45.897" v="6560" actId="20577"/>
          <ac:spMkLst>
            <pc:docMk/>
            <pc:sldMk cId="3349035450" sldId="2134805978"/>
            <ac:spMk id="3" creationId="{7F7BA38C-0B4E-42CA-9731-232C90993BE3}"/>
          </ac:spMkLst>
        </pc:spChg>
      </pc:sldChg>
      <pc:sldChg chg="modSp add mod">
        <pc:chgData name="Luciano Moreira" userId="81b8fdb4-f0e4-4457-95d0-b1edd3d5525c" providerId="ADAL" clId="{675B7749-5C25-4F76-A446-4779F4E2B149}" dt="2022-02-04T16:45:03.087" v="6562" actId="20577"/>
        <pc:sldMkLst>
          <pc:docMk/>
          <pc:sldMk cId="853491159" sldId="2134805979"/>
        </pc:sldMkLst>
        <pc:spChg chg="mod">
          <ac:chgData name="Luciano Moreira" userId="81b8fdb4-f0e4-4457-95d0-b1edd3d5525c" providerId="ADAL" clId="{675B7749-5C25-4F76-A446-4779F4E2B149}" dt="2022-01-18T12:09:27.320" v="1576" actId="20577"/>
          <ac:spMkLst>
            <pc:docMk/>
            <pc:sldMk cId="853491159" sldId="2134805979"/>
            <ac:spMk id="2" creationId="{0C9FAE3A-FFD1-492F-A3BB-2ED8E5F5DDC9}"/>
          </ac:spMkLst>
        </pc:spChg>
        <pc:spChg chg="mod">
          <ac:chgData name="Luciano Moreira" userId="81b8fdb4-f0e4-4457-95d0-b1edd3d5525c" providerId="ADAL" clId="{675B7749-5C25-4F76-A446-4779F4E2B149}" dt="2022-02-04T16:45:03.087" v="6562" actId="20577"/>
          <ac:spMkLst>
            <pc:docMk/>
            <pc:sldMk cId="853491159" sldId="2134805979"/>
            <ac:spMk id="3" creationId="{7F7BA38C-0B4E-42CA-9731-232C90993BE3}"/>
          </ac:spMkLst>
        </pc:spChg>
      </pc:sldChg>
      <pc:sldChg chg="addSp delSp modSp add mod delAnim modAnim modNotesTx">
        <pc:chgData name="Luciano Moreira" userId="81b8fdb4-f0e4-4457-95d0-b1edd3d5525c" providerId="ADAL" clId="{675B7749-5C25-4F76-A446-4779F4E2B149}" dt="2022-01-18T13:35:06.163" v="2623"/>
        <pc:sldMkLst>
          <pc:docMk/>
          <pc:sldMk cId="2465605942" sldId="2134805980"/>
        </pc:sldMkLst>
        <pc:spChg chg="add del mod">
          <ac:chgData name="Luciano Moreira" userId="81b8fdb4-f0e4-4457-95d0-b1edd3d5525c" providerId="ADAL" clId="{675B7749-5C25-4F76-A446-4779F4E2B149}" dt="2022-01-18T12:14:51.893" v="2004" actId="478"/>
          <ac:spMkLst>
            <pc:docMk/>
            <pc:sldMk cId="2465605942" sldId="2134805980"/>
            <ac:spMk id="2" creationId="{E938EC2B-B3E5-4739-9A46-B82C43E34991}"/>
          </ac:spMkLst>
        </pc:spChg>
        <pc:spChg chg="add del mod">
          <ac:chgData name="Luciano Moreira" userId="81b8fdb4-f0e4-4457-95d0-b1edd3d5525c" providerId="ADAL" clId="{675B7749-5C25-4F76-A446-4779F4E2B149}" dt="2022-01-18T12:17:16.606" v="2024" actId="478"/>
          <ac:spMkLst>
            <pc:docMk/>
            <pc:sldMk cId="2465605942" sldId="2134805980"/>
            <ac:spMk id="3" creationId="{206CD2B0-E54A-4742-8312-4F7635D8BAB2}"/>
          </ac:spMkLst>
        </pc:spChg>
        <pc:spChg chg="del mod">
          <ac:chgData name="Luciano Moreira" userId="81b8fdb4-f0e4-4457-95d0-b1edd3d5525c" providerId="ADAL" clId="{675B7749-5C25-4F76-A446-4779F4E2B149}" dt="2022-01-18T12:19:11.615" v="2083" actId="478"/>
          <ac:spMkLst>
            <pc:docMk/>
            <pc:sldMk cId="2465605942" sldId="2134805980"/>
            <ac:spMk id="4" creationId="{B186F71E-71E2-4937-98EF-4DD092D82B95}"/>
          </ac:spMkLst>
        </pc:spChg>
        <pc:spChg chg="del">
          <ac:chgData name="Luciano Moreira" userId="81b8fdb4-f0e4-4457-95d0-b1edd3d5525c" providerId="ADAL" clId="{675B7749-5C25-4F76-A446-4779F4E2B149}" dt="2022-01-18T12:13:43.299" v="1997" actId="478"/>
          <ac:spMkLst>
            <pc:docMk/>
            <pc:sldMk cId="2465605942" sldId="2134805980"/>
            <ac:spMk id="5" creationId="{2C7D219E-CF05-43C6-B4F5-A3DD4C981587}"/>
          </ac:spMkLst>
        </pc:spChg>
        <pc:spChg chg="del">
          <ac:chgData name="Luciano Moreira" userId="81b8fdb4-f0e4-4457-95d0-b1edd3d5525c" providerId="ADAL" clId="{675B7749-5C25-4F76-A446-4779F4E2B149}" dt="2022-01-18T12:13:43.299" v="1997" actId="478"/>
          <ac:spMkLst>
            <pc:docMk/>
            <pc:sldMk cId="2465605942" sldId="2134805980"/>
            <ac:spMk id="6" creationId="{0E68CE58-8FD8-4DD9-BA3E-CB8C10216C5C}"/>
          </ac:spMkLst>
        </pc:spChg>
        <pc:spChg chg="del">
          <ac:chgData name="Luciano Moreira" userId="81b8fdb4-f0e4-4457-95d0-b1edd3d5525c" providerId="ADAL" clId="{675B7749-5C25-4F76-A446-4779F4E2B149}" dt="2022-01-18T12:13:43.299" v="1997" actId="478"/>
          <ac:spMkLst>
            <pc:docMk/>
            <pc:sldMk cId="2465605942" sldId="2134805980"/>
            <ac:spMk id="8" creationId="{5CC8B014-728F-4817-A1A1-34413801D569}"/>
          </ac:spMkLst>
        </pc:spChg>
        <pc:spChg chg="del">
          <ac:chgData name="Luciano Moreira" userId="81b8fdb4-f0e4-4457-95d0-b1edd3d5525c" providerId="ADAL" clId="{675B7749-5C25-4F76-A446-4779F4E2B149}" dt="2022-01-18T12:13:43.299" v="1997" actId="478"/>
          <ac:spMkLst>
            <pc:docMk/>
            <pc:sldMk cId="2465605942" sldId="2134805980"/>
            <ac:spMk id="10" creationId="{536F5AE4-34D8-48D5-9E73-2D410CC54AFF}"/>
          </ac:spMkLst>
        </pc:spChg>
        <pc:spChg chg="del">
          <ac:chgData name="Luciano Moreira" userId="81b8fdb4-f0e4-4457-95d0-b1edd3d5525c" providerId="ADAL" clId="{675B7749-5C25-4F76-A446-4779F4E2B149}" dt="2022-01-18T12:13:43.299" v="1997" actId="478"/>
          <ac:spMkLst>
            <pc:docMk/>
            <pc:sldMk cId="2465605942" sldId="2134805980"/>
            <ac:spMk id="11" creationId="{BAA7943D-090F-41DE-BF6F-ADDF6C5566E4}"/>
          </ac:spMkLst>
        </pc:spChg>
        <pc:spChg chg="add del mod">
          <ac:chgData name="Luciano Moreira" userId="81b8fdb4-f0e4-4457-95d0-b1edd3d5525c" providerId="ADAL" clId="{675B7749-5C25-4F76-A446-4779F4E2B149}" dt="2022-01-18T12:17:25.169" v="2025" actId="478"/>
          <ac:spMkLst>
            <pc:docMk/>
            <pc:sldMk cId="2465605942" sldId="2134805980"/>
            <ac:spMk id="12" creationId="{DE77A559-2115-4B93-A0D1-DEC6ACD04C4B}"/>
          </ac:spMkLst>
        </pc:spChg>
        <pc:spChg chg="add del">
          <ac:chgData name="Luciano Moreira" userId="81b8fdb4-f0e4-4457-95d0-b1edd3d5525c" providerId="ADAL" clId="{675B7749-5C25-4F76-A446-4779F4E2B149}" dt="2022-01-18T12:17:32.722" v="2027" actId="478"/>
          <ac:spMkLst>
            <pc:docMk/>
            <pc:sldMk cId="2465605942" sldId="2134805980"/>
            <ac:spMk id="16" creationId="{93AFBDDA-7481-42EC-8D39-31B5A5EC0DB8}"/>
          </ac:spMkLst>
        </pc:spChg>
        <pc:spChg chg="del">
          <ac:chgData name="Luciano Moreira" userId="81b8fdb4-f0e4-4457-95d0-b1edd3d5525c" providerId="ADAL" clId="{675B7749-5C25-4F76-A446-4779F4E2B149}" dt="2022-01-18T12:13:43.299" v="1997" actId="478"/>
          <ac:spMkLst>
            <pc:docMk/>
            <pc:sldMk cId="2465605942" sldId="2134805980"/>
            <ac:spMk id="17" creationId="{94E059C6-817F-44AF-94E9-402179D42074}"/>
          </ac:spMkLst>
        </pc:spChg>
        <pc:spChg chg="mod">
          <ac:chgData name="Luciano Moreira" userId="81b8fdb4-f0e4-4457-95d0-b1edd3d5525c" providerId="ADAL" clId="{675B7749-5C25-4F76-A446-4779F4E2B149}" dt="2022-01-18T12:18:38.761" v="2058" actId="1076"/>
          <ac:spMkLst>
            <pc:docMk/>
            <pc:sldMk cId="2465605942" sldId="2134805980"/>
            <ac:spMk id="18" creationId="{00000000-0000-0000-0000-000000000000}"/>
          </ac:spMkLst>
        </pc:spChg>
        <pc:spChg chg="add mod">
          <ac:chgData name="Luciano Moreira" userId="81b8fdb4-f0e4-4457-95d0-b1edd3d5525c" providerId="ADAL" clId="{675B7749-5C25-4F76-A446-4779F4E2B149}" dt="2022-01-18T12:18:04.198" v="2054" actId="1076"/>
          <ac:spMkLst>
            <pc:docMk/>
            <pc:sldMk cId="2465605942" sldId="2134805980"/>
            <ac:spMk id="19" creationId="{FF6FA096-2E87-414F-BE78-401861A57550}"/>
          </ac:spMkLst>
        </pc:spChg>
        <pc:spChg chg="add mod">
          <ac:chgData name="Luciano Moreira" userId="81b8fdb4-f0e4-4457-95d0-b1edd3d5525c" providerId="ADAL" clId="{675B7749-5C25-4F76-A446-4779F4E2B149}" dt="2022-01-18T13:15:49.270" v="2536" actId="14100"/>
          <ac:spMkLst>
            <pc:docMk/>
            <pc:sldMk cId="2465605942" sldId="2134805980"/>
            <ac:spMk id="22" creationId="{B752C090-2C96-4E27-BC4B-EF9FFA822A7D}"/>
          </ac:spMkLst>
        </pc:spChg>
        <pc:spChg chg="del">
          <ac:chgData name="Luciano Moreira" userId="81b8fdb4-f0e4-4457-95d0-b1edd3d5525c" providerId="ADAL" clId="{675B7749-5C25-4F76-A446-4779F4E2B149}" dt="2022-01-18T12:13:43.299" v="1997" actId="478"/>
          <ac:spMkLst>
            <pc:docMk/>
            <pc:sldMk cId="2465605942" sldId="2134805980"/>
            <ac:spMk id="23" creationId="{13B5173C-E374-4A2B-B9F6-B0116A250CE3}"/>
          </ac:spMkLst>
        </pc:spChg>
        <pc:spChg chg="add del mod">
          <ac:chgData name="Luciano Moreira" userId="81b8fdb4-f0e4-4457-95d0-b1edd3d5525c" providerId="ADAL" clId="{675B7749-5C25-4F76-A446-4779F4E2B149}" dt="2022-01-18T12:19:09.180" v="2082" actId="478"/>
          <ac:spMkLst>
            <pc:docMk/>
            <pc:sldMk cId="2465605942" sldId="2134805980"/>
            <ac:spMk id="24" creationId="{72A819D0-12AC-4421-9881-4CD20B5D4B6B}"/>
          </ac:spMkLst>
        </pc:spChg>
        <pc:spChg chg="del">
          <ac:chgData name="Luciano Moreira" userId="81b8fdb4-f0e4-4457-95d0-b1edd3d5525c" providerId="ADAL" clId="{675B7749-5C25-4F76-A446-4779F4E2B149}" dt="2022-01-18T12:13:43.299" v="1997" actId="478"/>
          <ac:spMkLst>
            <pc:docMk/>
            <pc:sldMk cId="2465605942" sldId="2134805980"/>
            <ac:spMk id="25" creationId="{6ADF2083-A49F-4C78-BDDE-9980126BECB7}"/>
          </ac:spMkLst>
        </pc:spChg>
        <pc:spChg chg="add mod">
          <ac:chgData name="Luciano Moreira" userId="81b8fdb4-f0e4-4457-95d0-b1edd3d5525c" providerId="ADAL" clId="{675B7749-5C25-4F76-A446-4779F4E2B149}" dt="2022-01-18T12:24:42.392" v="2184" actId="1076"/>
          <ac:spMkLst>
            <pc:docMk/>
            <pc:sldMk cId="2465605942" sldId="2134805980"/>
            <ac:spMk id="26" creationId="{273290DA-309D-4C0A-B968-000840071FFC}"/>
          </ac:spMkLst>
        </pc:spChg>
        <pc:spChg chg="del">
          <ac:chgData name="Luciano Moreira" userId="81b8fdb4-f0e4-4457-95d0-b1edd3d5525c" providerId="ADAL" clId="{675B7749-5C25-4F76-A446-4779F4E2B149}" dt="2022-01-18T12:13:43.299" v="1997" actId="478"/>
          <ac:spMkLst>
            <pc:docMk/>
            <pc:sldMk cId="2465605942" sldId="2134805980"/>
            <ac:spMk id="27" creationId="{6F4F1A92-3F47-49AB-B6EF-E91F89B48F77}"/>
          </ac:spMkLst>
        </pc:spChg>
        <pc:spChg chg="add mod">
          <ac:chgData name="Luciano Moreira" userId="81b8fdb4-f0e4-4457-95d0-b1edd3d5525c" providerId="ADAL" clId="{675B7749-5C25-4F76-A446-4779F4E2B149}" dt="2022-01-18T12:24:42.392" v="2184" actId="1076"/>
          <ac:spMkLst>
            <pc:docMk/>
            <pc:sldMk cId="2465605942" sldId="2134805980"/>
            <ac:spMk id="28" creationId="{4A1F37AA-7639-4175-9F96-ED013B084D5D}"/>
          </ac:spMkLst>
        </pc:spChg>
        <pc:spChg chg="add mod">
          <ac:chgData name="Luciano Moreira" userId="81b8fdb4-f0e4-4457-95d0-b1edd3d5525c" providerId="ADAL" clId="{675B7749-5C25-4F76-A446-4779F4E2B149}" dt="2022-01-18T12:24:42.392" v="2184" actId="1076"/>
          <ac:spMkLst>
            <pc:docMk/>
            <pc:sldMk cId="2465605942" sldId="2134805980"/>
            <ac:spMk id="29" creationId="{B3911A2B-9095-4180-91D8-A0FA01EF8B4F}"/>
          </ac:spMkLst>
        </pc:spChg>
        <pc:spChg chg="del">
          <ac:chgData name="Luciano Moreira" userId="81b8fdb4-f0e4-4457-95d0-b1edd3d5525c" providerId="ADAL" clId="{675B7749-5C25-4F76-A446-4779F4E2B149}" dt="2022-01-18T12:13:43.299" v="1997" actId="478"/>
          <ac:spMkLst>
            <pc:docMk/>
            <pc:sldMk cId="2465605942" sldId="2134805980"/>
            <ac:spMk id="30" creationId="{9D33D136-44AD-49F3-A0FF-38BF4478FDF4}"/>
          </ac:spMkLst>
        </pc:spChg>
        <pc:spChg chg="del">
          <ac:chgData name="Luciano Moreira" userId="81b8fdb4-f0e4-4457-95d0-b1edd3d5525c" providerId="ADAL" clId="{675B7749-5C25-4F76-A446-4779F4E2B149}" dt="2022-01-18T12:13:43.299" v="1997" actId="478"/>
          <ac:spMkLst>
            <pc:docMk/>
            <pc:sldMk cId="2465605942" sldId="2134805980"/>
            <ac:spMk id="31" creationId="{0614CA0D-0476-4426-B6B7-B3408B1F606D}"/>
          </ac:spMkLst>
        </pc:spChg>
        <pc:spChg chg="add mod">
          <ac:chgData name="Luciano Moreira" userId="81b8fdb4-f0e4-4457-95d0-b1edd3d5525c" providerId="ADAL" clId="{675B7749-5C25-4F76-A446-4779F4E2B149}" dt="2022-01-18T12:24:42.392" v="2184" actId="1076"/>
          <ac:spMkLst>
            <pc:docMk/>
            <pc:sldMk cId="2465605942" sldId="2134805980"/>
            <ac:spMk id="32" creationId="{2BD0A379-6FA4-44B4-8CBD-7AE98FE78F43}"/>
          </ac:spMkLst>
        </pc:spChg>
        <pc:spChg chg="del">
          <ac:chgData name="Luciano Moreira" userId="81b8fdb4-f0e4-4457-95d0-b1edd3d5525c" providerId="ADAL" clId="{675B7749-5C25-4F76-A446-4779F4E2B149}" dt="2022-01-18T12:13:43.299" v="1997" actId="478"/>
          <ac:spMkLst>
            <pc:docMk/>
            <pc:sldMk cId="2465605942" sldId="2134805980"/>
            <ac:spMk id="33" creationId="{0C4A0AD6-B873-4F13-B66C-3EAF49D8F247}"/>
          </ac:spMkLst>
        </pc:spChg>
        <pc:spChg chg="del">
          <ac:chgData name="Luciano Moreira" userId="81b8fdb4-f0e4-4457-95d0-b1edd3d5525c" providerId="ADAL" clId="{675B7749-5C25-4F76-A446-4779F4E2B149}" dt="2022-01-18T12:13:43.299" v="1997" actId="478"/>
          <ac:spMkLst>
            <pc:docMk/>
            <pc:sldMk cId="2465605942" sldId="2134805980"/>
            <ac:spMk id="35" creationId="{30DCFC53-8BDD-49C6-9404-AF35AD3A270C}"/>
          </ac:spMkLst>
        </pc:spChg>
        <pc:spChg chg="del">
          <ac:chgData name="Luciano Moreira" userId="81b8fdb4-f0e4-4457-95d0-b1edd3d5525c" providerId="ADAL" clId="{675B7749-5C25-4F76-A446-4779F4E2B149}" dt="2022-01-18T12:13:43.299" v="1997" actId="478"/>
          <ac:spMkLst>
            <pc:docMk/>
            <pc:sldMk cId="2465605942" sldId="2134805980"/>
            <ac:spMk id="37" creationId="{0C85E59F-3A05-4F4F-8697-FDD76069F486}"/>
          </ac:spMkLst>
        </pc:spChg>
        <pc:spChg chg="del">
          <ac:chgData name="Luciano Moreira" userId="81b8fdb4-f0e4-4457-95d0-b1edd3d5525c" providerId="ADAL" clId="{675B7749-5C25-4F76-A446-4779F4E2B149}" dt="2022-01-18T12:13:43.299" v="1997" actId="478"/>
          <ac:spMkLst>
            <pc:docMk/>
            <pc:sldMk cId="2465605942" sldId="2134805980"/>
            <ac:spMk id="39" creationId="{7F635E69-5A06-4342-B081-C20112FEF60F}"/>
          </ac:spMkLst>
        </pc:spChg>
        <pc:spChg chg="add mod ord">
          <ac:chgData name="Luciano Moreira" userId="81b8fdb4-f0e4-4457-95d0-b1edd3d5525c" providerId="ADAL" clId="{675B7749-5C25-4F76-A446-4779F4E2B149}" dt="2022-01-18T12:24:42.392" v="2184" actId="1076"/>
          <ac:spMkLst>
            <pc:docMk/>
            <pc:sldMk cId="2465605942" sldId="2134805980"/>
            <ac:spMk id="43" creationId="{C297AFA7-93BF-4967-BDB2-DD33905427A6}"/>
          </ac:spMkLst>
        </pc:spChg>
        <pc:spChg chg="add del mod">
          <ac:chgData name="Luciano Moreira" userId="81b8fdb4-f0e4-4457-95d0-b1edd3d5525c" providerId="ADAL" clId="{675B7749-5C25-4F76-A446-4779F4E2B149}" dt="2022-01-18T12:22:19.046" v="2154" actId="478"/>
          <ac:spMkLst>
            <pc:docMk/>
            <pc:sldMk cId="2465605942" sldId="2134805980"/>
            <ac:spMk id="45" creationId="{A421DA71-6886-4198-BB97-9A48E5A9F386}"/>
          </ac:spMkLst>
        </pc:spChg>
        <pc:spChg chg="del">
          <ac:chgData name="Luciano Moreira" userId="81b8fdb4-f0e4-4457-95d0-b1edd3d5525c" providerId="ADAL" clId="{675B7749-5C25-4F76-A446-4779F4E2B149}" dt="2022-01-18T12:13:43.299" v="1997" actId="478"/>
          <ac:spMkLst>
            <pc:docMk/>
            <pc:sldMk cId="2465605942" sldId="2134805980"/>
            <ac:spMk id="47" creationId="{E5EE1CC1-44D4-41AF-9E60-617A07D52666}"/>
          </ac:spMkLst>
        </pc:spChg>
        <pc:spChg chg="del">
          <ac:chgData name="Luciano Moreira" userId="81b8fdb4-f0e4-4457-95d0-b1edd3d5525c" providerId="ADAL" clId="{675B7749-5C25-4F76-A446-4779F4E2B149}" dt="2022-01-18T12:13:43.299" v="1997" actId="478"/>
          <ac:spMkLst>
            <pc:docMk/>
            <pc:sldMk cId="2465605942" sldId="2134805980"/>
            <ac:spMk id="48" creationId="{99073034-997F-46F6-9BC0-38C910AF344E}"/>
          </ac:spMkLst>
        </pc:spChg>
        <pc:spChg chg="add del mod">
          <ac:chgData name="Luciano Moreira" userId="81b8fdb4-f0e4-4457-95d0-b1edd3d5525c" providerId="ADAL" clId="{675B7749-5C25-4F76-A446-4779F4E2B149}" dt="2022-01-18T12:22:17.863" v="2152" actId="478"/>
          <ac:spMkLst>
            <pc:docMk/>
            <pc:sldMk cId="2465605942" sldId="2134805980"/>
            <ac:spMk id="51" creationId="{D6822722-814C-497C-98BC-0AB9911D60E7}"/>
          </ac:spMkLst>
        </pc:spChg>
        <pc:spChg chg="del">
          <ac:chgData name="Luciano Moreira" userId="81b8fdb4-f0e4-4457-95d0-b1edd3d5525c" providerId="ADAL" clId="{675B7749-5C25-4F76-A446-4779F4E2B149}" dt="2022-01-18T12:13:43.299" v="1997" actId="478"/>
          <ac:spMkLst>
            <pc:docMk/>
            <pc:sldMk cId="2465605942" sldId="2134805980"/>
            <ac:spMk id="53" creationId="{88805054-7144-4C00-8513-7FCE74E89AF3}"/>
          </ac:spMkLst>
        </pc:spChg>
        <pc:spChg chg="add del mod">
          <ac:chgData name="Luciano Moreira" userId="81b8fdb4-f0e4-4457-95d0-b1edd3d5525c" providerId="ADAL" clId="{675B7749-5C25-4F76-A446-4779F4E2B149}" dt="2022-01-18T12:22:18.539" v="2153" actId="478"/>
          <ac:spMkLst>
            <pc:docMk/>
            <pc:sldMk cId="2465605942" sldId="2134805980"/>
            <ac:spMk id="55" creationId="{0FD86A61-77BE-40BB-805B-846864E27B16}"/>
          </ac:spMkLst>
        </pc:spChg>
        <pc:spChg chg="add mod">
          <ac:chgData name="Luciano Moreira" userId="81b8fdb4-f0e4-4457-95d0-b1edd3d5525c" providerId="ADAL" clId="{675B7749-5C25-4F76-A446-4779F4E2B149}" dt="2022-01-18T12:24:42.392" v="2184" actId="1076"/>
          <ac:spMkLst>
            <pc:docMk/>
            <pc:sldMk cId="2465605942" sldId="2134805980"/>
            <ac:spMk id="57" creationId="{1C6AF795-0B4D-4070-86F0-A3785AB24106}"/>
          </ac:spMkLst>
        </pc:spChg>
        <pc:spChg chg="add mod ord">
          <ac:chgData name="Luciano Moreira" userId="81b8fdb4-f0e4-4457-95d0-b1edd3d5525c" providerId="ADAL" clId="{675B7749-5C25-4F76-A446-4779F4E2B149}" dt="2022-01-18T12:24:42.392" v="2184" actId="1076"/>
          <ac:spMkLst>
            <pc:docMk/>
            <pc:sldMk cId="2465605942" sldId="2134805980"/>
            <ac:spMk id="59" creationId="{21E40231-F3C0-447A-AFC0-623056652003}"/>
          </ac:spMkLst>
        </pc:spChg>
        <pc:spChg chg="add mod">
          <ac:chgData name="Luciano Moreira" userId="81b8fdb4-f0e4-4457-95d0-b1edd3d5525c" providerId="ADAL" clId="{675B7749-5C25-4F76-A446-4779F4E2B149}" dt="2022-01-18T12:24:42.392" v="2184" actId="1076"/>
          <ac:spMkLst>
            <pc:docMk/>
            <pc:sldMk cId="2465605942" sldId="2134805980"/>
            <ac:spMk id="61" creationId="{02495E9B-0117-4D57-B8DA-AAF348677163}"/>
          </ac:spMkLst>
        </pc:spChg>
        <pc:spChg chg="add mod">
          <ac:chgData name="Luciano Moreira" userId="81b8fdb4-f0e4-4457-95d0-b1edd3d5525c" providerId="ADAL" clId="{675B7749-5C25-4F76-A446-4779F4E2B149}" dt="2022-01-18T12:26:55.845" v="2229" actId="1076"/>
          <ac:spMkLst>
            <pc:docMk/>
            <pc:sldMk cId="2465605942" sldId="2134805980"/>
            <ac:spMk id="62" creationId="{BB04EE29-A103-4869-AE48-60667D1C3F49}"/>
          </ac:spMkLst>
        </pc:spChg>
        <pc:spChg chg="add mod">
          <ac:chgData name="Luciano Moreira" userId="81b8fdb4-f0e4-4457-95d0-b1edd3d5525c" providerId="ADAL" clId="{675B7749-5C25-4F76-A446-4779F4E2B149}" dt="2022-01-18T12:24:49.556" v="2191" actId="20577"/>
          <ac:spMkLst>
            <pc:docMk/>
            <pc:sldMk cId="2465605942" sldId="2134805980"/>
            <ac:spMk id="64" creationId="{EEBA5BCD-4BCC-4615-A7F1-B9885BC31449}"/>
          </ac:spMkLst>
        </pc:spChg>
        <pc:spChg chg="add del mod">
          <ac:chgData name="Luciano Moreira" userId="81b8fdb4-f0e4-4457-95d0-b1edd3d5525c" providerId="ADAL" clId="{675B7749-5C25-4F76-A446-4779F4E2B149}" dt="2022-01-18T12:25:25.004" v="2194" actId="478"/>
          <ac:spMkLst>
            <pc:docMk/>
            <pc:sldMk cId="2465605942" sldId="2134805980"/>
            <ac:spMk id="65" creationId="{D8C364C5-8A35-497C-8E32-D25CD7D94E1C}"/>
          </ac:spMkLst>
        </pc:spChg>
        <pc:spChg chg="add mod">
          <ac:chgData name="Luciano Moreira" userId="81b8fdb4-f0e4-4457-95d0-b1edd3d5525c" providerId="ADAL" clId="{675B7749-5C25-4F76-A446-4779F4E2B149}" dt="2022-01-18T13:15:32.967" v="2534" actId="20577"/>
          <ac:spMkLst>
            <pc:docMk/>
            <pc:sldMk cId="2465605942" sldId="2134805980"/>
            <ac:spMk id="67" creationId="{D1C1BC2F-0892-457E-B2A3-FAE754558B62}"/>
          </ac:spMkLst>
        </pc:spChg>
        <pc:spChg chg="add mod">
          <ac:chgData name="Luciano Moreira" userId="81b8fdb4-f0e4-4457-95d0-b1edd3d5525c" providerId="ADAL" clId="{675B7749-5C25-4F76-A446-4779F4E2B149}" dt="2022-01-18T12:28:37.145" v="2266" actId="1076"/>
          <ac:spMkLst>
            <pc:docMk/>
            <pc:sldMk cId="2465605942" sldId="2134805980"/>
            <ac:spMk id="82" creationId="{E4CF63DD-3785-4C42-85D0-E2EA9B5DF47D}"/>
          </ac:spMkLst>
        </pc:spChg>
        <pc:spChg chg="add mod">
          <ac:chgData name="Luciano Moreira" userId="81b8fdb4-f0e4-4457-95d0-b1edd3d5525c" providerId="ADAL" clId="{675B7749-5C25-4F76-A446-4779F4E2B149}" dt="2022-01-18T13:20:16.907" v="2567" actId="1076"/>
          <ac:spMkLst>
            <pc:docMk/>
            <pc:sldMk cId="2465605942" sldId="2134805980"/>
            <ac:spMk id="126" creationId="{A2DBE953-5E4A-470D-8D48-8BD0FB1BAC29}"/>
          </ac:spMkLst>
        </pc:spChg>
        <pc:spChg chg="add mod">
          <ac:chgData name="Luciano Moreira" userId="81b8fdb4-f0e4-4457-95d0-b1edd3d5525c" providerId="ADAL" clId="{675B7749-5C25-4F76-A446-4779F4E2B149}" dt="2022-01-18T13:20:42.829" v="2574" actId="20577"/>
          <ac:spMkLst>
            <pc:docMk/>
            <pc:sldMk cId="2465605942" sldId="2134805980"/>
            <ac:spMk id="128" creationId="{9BA3C227-E253-4ED6-A02F-C8CEE648F25A}"/>
          </ac:spMkLst>
        </pc:spChg>
        <pc:spChg chg="add mod">
          <ac:chgData name="Luciano Moreira" userId="81b8fdb4-f0e4-4457-95d0-b1edd3d5525c" providerId="ADAL" clId="{675B7749-5C25-4F76-A446-4779F4E2B149}" dt="2022-01-18T13:20:55.685" v="2577" actId="20577"/>
          <ac:spMkLst>
            <pc:docMk/>
            <pc:sldMk cId="2465605942" sldId="2134805980"/>
            <ac:spMk id="130" creationId="{7C8E6D53-CA5A-4FF4-AB5E-28E8B49EF3F3}"/>
          </ac:spMkLst>
        </pc:spChg>
        <pc:spChg chg="add mod">
          <ac:chgData name="Luciano Moreira" userId="81b8fdb4-f0e4-4457-95d0-b1edd3d5525c" providerId="ADAL" clId="{675B7749-5C25-4F76-A446-4779F4E2B149}" dt="2022-01-18T13:21:06.506" v="2583" actId="20577"/>
          <ac:spMkLst>
            <pc:docMk/>
            <pc:sldMk cId="2465605942" sldId="2134805980"/>
            <ac:spMk id="132" creationId="{5B4209FC-EAA7-41CA-819F-83CCF6CC472A}"/>
          </ac:spMkLst>
        </pc:spChg>
        <pc:spChg chg="add mod">
          <ac:chgData name="Luciano Moreira" userId="81b8fdb4-f0e4-4457-95d0-b1edd3d5525c" providerId="ADAL" clId="{675B7749-5C25-4F76-A446-4779F4E2B149}" dt="2022-01-18T13:21:08.505" v="2585" actId="20577"/>
          <ac:spMkLst>
            <pc:docMk/>
            <pc:sldMk cId="2465605942" sldId="2134805980"/>
            <ac:spMk id="134" creationId="{2961C2FD-DCD5-4064-A16E-3BDE390C9D60}"/>
          </ac:spMkLst>
        </pc:spChg>
        <pc:spChg chg="add mod">
          <ac:chgData name="Luciano Moreira" userId="81b8fdb4-f0e4-4457-95d0-b1edd3d5525c" providerId="ADAL" clId="{675B7749-5C25-4F76-A446-4779F4E2B149}" dt="2022-01-18T13:21:46.964" v="2598" actId="1076"/>
          <ac:spMkLst>
            <pc:docMk/>
            <pc:sldMk cId="2465605942" sldId="2134805980"/>
            <ac:spMk id="136" creationId="{2FB37295-3443-45DA-8928-3304B906FCE5}"/>
          </ac:spMkLst>
        </pc:spChg>
        <pc:spChg chg="add mod">
          <ac:chgData name="Luciano Moreira" userId="81b8fdb4-f0e4-4457-95d0-b1edd3d5525c" providerId="ADAL" clId="{675B7749-5C25-4F76-A446-4779F4E2B149}" dt="2022-01-18T13:21:43.239" v="2597" actId="20577"/>
          <ac:spMkLst>
            <pc:docMk/>
            <pc:sldMk cId="2465605942" sldId="2134805980"/>
            <ac:spMk id="138" creationId="{2A6DEE09-8679-4618-A662-1D453A453295}"/>
          </ac:spMkLst>
        </pc:spChg>
        <pc:spChg chg="add mod">
          <ac:chgData name="Luciano Moreira" userId="81b8fdb4-f0e4-4457-95d0-b1edd3d5525c" providerId="ADAL" clId="{675B7749-5C25-4F76-A446-4779F4E2B149}" dt="2022-01-18T13:21:57.994" v="2604" actId="1076"/>
          <ac:spMkLst>
            <pc:docMk/>
            <pc:sldMk cId="2465605942" sldId="2134805980"/>
            <ac:spMk id="140" creationId="{A9689E42-C304-4104-9538-88929E9591F3}"/>
          </ac:spMkLst>
        </pc:spChg>
        <pc:spChg chg="add mod">
          <ac:chgData name="Luciano Moreira" userId="81b8fdb4-f0e4-4457-95d0-b1edd3d5525c" providerId="ADAL" clId="{675B7749-5C25-4F76-A446-4779F4E2B149}" dt="2022-01-18T13:22:17.569" v="2606" actId="1076"/>
          <ac:spMkLst>
            <pc:docMk/>
            <pc:sldMk cId="2465605942" sldId="2134805980"/>
            <ac:spMk id="142" creationId="{A5F8C61E-E0E0-4844-8214-26DA50992E98}"/>
          </ac:spMkLst>
        </pc:spChg>
        <pc:cxnChg chg="del">
          <ac:chgData name="Luciano Moreira" userId="81b8fdb4-f0e4-4457-95d0-b1edd3d5525c" providerId="ADAL" clId="{675B7749-5C25-4F76-A446-4779F4E2B149}" dt="2022-01-18T12:13:43.299" v="1997" actId="478"/>
          <ac:cxnSpMkLst>
            <pc:docMk/>
            <pc:sldMk cId="2465605942" sldId="2134805980"/>
            <ac:cxnSpMk id="7" creationId="{745BF3B5-EA79-4B61-9849-0C32E8EAB153}"/>
          </ac:cxnSpMkLst>
        </pc:cxnChg>
        <pc:cxnChg chg="del">
          <ac:chgData name="Luciano Moreira" userId="81b8fdb4-f0e4-4457-95d0-b1edd3d5525c" providerId="ADAL" clId="{675B7749-5C25-4F76-A446-4779F4E2B149}" dt="2022-01-18T12:13:43.299" v="1997" actId="478"/>
          <ac:cxnSpMkLst>
            <pc:docMk/>
            <pc:sldMk cId="2465605942" sldId="2134805980"/>
            <ac:cxnSpMk id="9" creationId="{BDB2F491-13B2-4A58-94AA-20107130F1EC}"/>
          </ac:cxnSpMkLst>
        </pc:cxnChg>
        <pc:cxnChg chg="del">
          <ac:chgData name="Luciano Moreira" userId="81b8fdb4-f0e4-4457-95d0-b1edd3d5525c" providerId="ADAL" clId="{675B7749-5C25-4F76-A446-4779F4E2B149}" dt="2022-01-18T12:13:43.299" v="1997" actId="478"/>
          <ac:cxnSpMkLst>
            <pc:docMk/>
            <pc:sldMk cId="2465605942" sldId="2134805980"/>
            <ac:cxnSpMk id="13" creationId="{784464C0-2886-4A5F-B574-1FCFCA1AF6B6}"/>
          </ac:cxnSpMkLst>
        </pc:cxnChg>
        <pc:cxnChg chg="del">
          <ac:chgData name="Luciano Moreira" userId="81b8fdb4-f0e4-4457-95d0-b1edd3d5525c" providerId="ADAL" clId="{675B7749-5C25-4F76-A446-4779F4E2B149}" dt="2022-01-18T12:13:43.299" v="1997" actId="478"/>
          <ac:cxnSpMkLst>
            <pc:docMk/>
            <pc:sldMk cId="2465605942" sldId="2134805980"/>
            <ac:cxnSpMk id="14" creationId="{42A4B418-39A2-4FDB-BE69-24D9EFC095D0}"/>
          </ac:cxnSpMkLst>
        </pc:cxnChg>
        <pc:cxnChg chg="del">
          <ac:chgData name="Luciano Moreira" userId="81b8fdb4-f0e4-4457-95d0-b1edd3d5525c" providerId="ADAL" clId="{675B7749-5C25-4F76-A446-4779F4E2B149}" dt="2022-01-18T12:13:43.299" v="1997" actId="478"/>
          <ac:cxnSpMkLst>
            <pc:docMk/>
            <pc:sldMk cId="2465605942" sldId="2134805980"/>
            <ac:cxnSpMk id="15" creationId="{024256CB-97BF-4798-A356-ED6D384D5482}"/>
          </ac:cxnSpMkLst>
        </pc:cxnChg>
        <pc:cxnChg chg="del">
          <ac:chgData name="Luciano Moreira" userId="81b8fdb4-f0e4-4457-95d0-b1edd3d5525c" providerId="ADAL" clId="{675B7749-5C25-4F76-A446-4779F4E2B149}" dt="2022-01-18T12:13:43.299" v="1997" actId="478"/>
          <ac:cxnSpMkLst>
            <pc:docMk/>
            <pc:sldMk cId="2465605942" sldId="2134805980"/>
            <ac:cxnSpMk id="20" creationId="{9DB55322-191D-4830-82F4-F1B070C6512B}"/>
          </ac:cxnSpMkLst>
        </pc:cxnChg>
        <pc:cxnChg chg="add mod">
          <ac:chgData name="Luciano Moreira" userId="81b8fdb4-f0e4-4457-95d0-b1edd3d5525c" providerId="ADAL" clId="{675B7749-5C25-4F76-A446-4779F4E2B149}" dt="2022-01-18T12:26:55.845" v="2229" actId="1076"/>
          <ac:cxnSpMkLst>
            <pc:docMk/>
            <pc:sldMk cId="2465605942" sldId="2134805980"/>
            <ac:cxnSpMk id="21" creationId="{1995DA39-C151-4DF6-AE9B-5975328D1A33}"/>
          </ac:cxnSpMkLst>
        </pc:cxnChg>
        <pc:cxnChg chg="del">
          <ac:chgData name="Luciano Moreira" userId="81b8fdb4-f0e4-4457-95d0-b1edd3d5525c" providerId="ADAL" clId="{675B7749-5C25-4F76-A446-4779F4E2B149}" dt="2022-01-18T12:13:43.299" v="1997" actId="478"/>
          <ac:cxnSpMkLst>
            <pc:docMk/>
            <pc:sldMk cId="2465605942" sldId="2134805980"/>
            <ac:cxnSpMk id="34" creationId="{B37D8C18-7F9B-4F51-BAEB-6EA852C62348}"/>
          </ac:cxnSpMkLst>
        </pc:cxnChg>
        <pc:cxnChg chg="del">
          <ac:chgData name="Luciano Moreira" userId="81b8fdb4-f0e4-4457-95d0-b1edd3d5525c" providerId="ADAL" clId="{675B7749-5C25-4F76-A446-4779F4E2B149}" dt="2022-01-18T12:13:43.299" v="1997" actId="478"/>
          <ac:cxnSpMkLst>
            <pc:docMk/>
            <pc:sldMk cId="2465605942" sldId="2134805980"/>
            <ac:cxnSpMk id="41" creationId="{2D6A4AD0-A812-42C8-B0C7-7BE236B2DFE5}"/>
          </ac:cxnSpMkLst>
        </pc:cxnChg>
        <pc:cxnChg chg="add mod">
          <ac:chgData name="Luciano Moreira" userId="81b8fdb4-f0e4-4457-95d0-b1edd3d5525c" providerId="ADAL" clId="{675B7749-5C25-4F76-A446-4779F4E2B149}" dt="2022-01-18T13:18:44.164" v="2551" actId="13822"/>
          <ac:cxnSpMkLst>
            <pc:docMk/>
            <pc:sldMk cId="2465605942" sldId="2134805980"/>
            <ac:cxnSpMk id="69" creationId="{2C399A27-654B-408A-8801-5B52B70952B5}"/>
          </ac:cxnSpMkLst>
        </pc:cxnChg>
        <pc:cxnChg chg="add mod">
          <ac:chgData name="Luciano Moreira" userId="81b8fdb4-f0e4-4457-95d0-b1edd3d5525c" providerId="ADAL" clId="{675B7749-5C25-4F76-A446-4779F4E2B149}" dt="2022-01-18T12:28:12.260" v="2242" actId="13822"/>
          <ac:cxnSpMkLst>
            <pc:docMk/>
            <pc:sldMk cId="2465605942" sldId="2134805980"/>
            <ac:cxnSpMk id="74" creationId="{E4D7171D-8D77-4831-AB91-833B1E4F0AB9}"/>
          </ac:cxnSpMkLst>
        </pc:cxnChg>
        <pc:cxnChg chg="add mod">
          <ac:chgData name="Luciano Moreira" userId="81b8fdb4-f0e4-4457-95d0-b1edd3d5525c" providerId="ADAL" clId="{675B7749-5C25-4F76-A446-4779F4E2B149}" dt="2022-01-18T12:28:12.260" v="2242" actId="13822"/>
          <ac:cxnSpMkLst>
            <pc:docMk/>
            <pc:sldMk cId="2465605942" sldId="2134805980"/>
            <ac:cxnSpMk id="77" creationId="{96CC1A42-81F1-4739-82A8-AF0EDCF0DABE}"/>
          </ac:cxnSpMkLst>
        </pc:cxnChg>
        <pc:cxnChg chg="add mod">
          <ac:chgData name="Luciano Moreira" userId="81b8fdb4-f0e4-4457-95d0-b1edd3d5525c" providerId="ADAL" clId="{675B7749-5C25-4F76-A446-4779F4E2B149}" dt="2022-01-18T13:18:44.164" v="2551" actId="13822"/>
          <ac:cxnSpMkLst>
            <pc:docMk/>
            <pc:sldMk cId="2465605942" sldId="2134805980"/>
            <ac:cxnSpMk id="84" creationId="{FD23EC15-3B8E-4430-9AD7-22547557E748}"/>
          </ac:cxnSpMkLst>
        </pc:cxnChg>
        <pc:cxnChg chg="add mod">
          <ac:chgData name="Luciano Moreira" userId="81b8fdb4-f0e4-4457-95d0-b1edd3d5525c" providerId="ADAL" clId="{675B7749-5C25-4F76-A446-4779F4E2B149}" dt="2022-01-18T13:16:46.015" v="2541" actId="208"/>
          <ac:cxnSpMkLst>
            <pc:docMk/>
            <pc:sldMk cId="2465605942" sldId="2134805980"/>
            <ac:cxnSpMk id="88" creationId="{87853C80-601C-4B4D-B794-CD787D93A0F3}"/>
          </ac:cxnSpMkLst>
        </pc:cxnChg>
        <pc:cxnChg chg="add mod">
          <ac:chgData name="Luciano Moreira" userId="81b8fdb4-f0e4-4457-95d0-b1edd3d5525c" providerId="ADAL" clId="{675B7749-5C25-4F76-A446-4779F4E2B149}" dt="2022-01-18T13:18:49.872" v="2552" actId="208"/>
          <ac:cxnSpMkLst>
            <pc:docMk/>
            <pc:sldMk cId="2465605942" sldId="2134805980"/>
            <ac:cxnSpMk id="91" creationId="{D6A97BC3-E873-43CE-A820-9ECB7AAEC5EA}"/>
          </ac:cxnSpMkLst>
        </pc:cxnChg>
        <pc:cxnChg chg="add mod">
          <ac:chgData name="Luciano Moreira" userId="81b8fdb4-f0e4-4457-95d0-b1edd3d5525c" providerId="ADAL" clId="{675B7749-5C25-4F76-A446-4779F4E2B149}" dt="2022-01-18T13:04:03.345" v="2439" actId="13822"/>
          <ac:cxnSpMkLst>
            <pc:docMk/>
            <pc:sldMk cId="2465605942" sldId="2134805980"/>
            <ac:cxnSpMk id="93" creationId="{9572DAFB-CEA3-4FCC-866D-45E8ADC8441C}"/>
          </ac:cxnSpMkLst>
        </pc:cxnChg>
        <pc:cxnChg chg="add mod">
          <ac:chgData name="Luciano Moreira" userId="81b8fdb4-f0e4-4457-95d0-b1edd3d5525c" providerId="ADAL" clId="{675B7749-5C25-4F76-A446-4779F4E2B149}" dt="2022-01-18T13:04:31.850" v="2452" actId="14100"/>
          <ac:cxnSpMkLst>
            <pc:docMk/>
            <pc:sldMk cId="2465605942" sldId="2134805980"/>
            <ac:cxnSpMk id="95" creationId="{D21CEF0F-9AEA-41E8-B292-9DEFF7D74109}"/>
          </ac:cxnSpMkLst>
        </pc:cxnChg>
        <pc:cxnChg chg="add mod">
          <ac:chgData name="Luciano Moreira" userId="81b8fdb4-f0e4-4457-95d0-b1edd3d5525c" providerId="ADAL" clId="{675B7749-5C25-4F76-A446-4779F4E2B149}" dt="2022-01-18T13:04:52.035" v="2458" actId="14100"/>
          <ac:cxnSpMkLst>
            <pc:docMk/>
            <pc:sldMk cId="2465605942" sldId="2134805980"/>
            <ac:cxnSpMk id="98" creationId="{14FA0294-3F0B-425E-8C82-03B3DB64834F}"/>
          </ac:cxnSpMkLst>
        </pc:cxnChg>
        <pc:cxnChg chg="add mod">
          <ac:chgData name="Luciano Moreira" userId="81b8fdb4-f0e4-4457-95d0-b1edd3d5525c" providerId="ADAL" clId="{675B7749-5C25-4F76-A446-4779F4E2B149}" dt="2022-01-18T13:04:28.854" v="2451" actId="14100"/>
          <ac:cxnSpMkLst>
            <pc:docMk/>
            <pc:sldMk cId="2465605942" sldId="2134805980"/>
            <ac:cxnSpMk id="102" creationId="{ACE847CF-4677-47DF-85A2-ACD9EF5CDB1B}"/>
          </ac:cxnSpMkLst>
        </pc:cxnChg>
        <pc:cxnChg chg="add mod">
          <ac:chgData name="Luciano Moreira" userId="81b8fdb4-f0e4-4457-95d0-b1edd3d5525c" providerId="ADAL" clId="{675B7749-5C25-4F76-A446-4779F4E2B149}" dt="2022-01-18T13:04:42.705" v="2457" actId="14100"/>
          <ac:cxnSpMkLst>
            <pc:docMk/>
            <pc:sldMk cId="2465605942" sldId="2134805980"/>
            <ac:cxnSpMk id="108" creationId="{1A79707B-6973-4CDA-BDB9-25C7C853F185}"/>
          </ac:cxnSpMkLst>
        </pc:cxnChg>
        <pc:cxnChg chg="add mod">
          <ac:chgData name="Luciano Moreira" userId="81b8fdb4-f0e4-4457-95d0-b1edd3d5525c" providerId="ADAL" clId="{675B7749-5C25-4F76-A446-4779F4E2B149}" dt="2022-01-18T13:16:46.015" v="2541" actId="208"/>
          <ac:cxnSpMkLst>
            <pc:docMk/>
            <pc:sldMk cId="2465605942" sldId="2134805980"/>
            <ac:cxnSpMk id="112" creationId="{ABAECF21-7600-48F2-84D9-850C616B2157}"/>
          </ac:cxnSpMkLst>
        </pc:cxnChg>
        <pc:cxnChg chg="add mod">
          <ac:chgData name="Luciano Moreira" userId="81b8fdb4-f0e4-4457-95d0-b1edd3d5525c" providerId="ADAL" clId="{675B7749-5C25-4F76-A446-4779F4E2B149}" dt="2022-01-18T13:16:22.439" v="2539" actId="208"/>
          <ac:cxnSpMkLst>
            <pc:docMk/>
            <pc:sldMk cId="2465605942" sldId="2134805980"/>
            <ac:cxnSpMk id="118" creationId="{C1136473-BBF5-4D32-8D10-8E4C2D1DD963}"/>
          </ac:cxnSpMkLst>
        </pc:cxnChg>
        <pc:cxnChg chg="add mod">
          <ac:chgData name="Luciano Moreira" userId="81b8fdb4-f0e4-4457-95d0-b1edd3d5525c" providerId="ADAL" clId="{675B7749-5C25-4F76-A446-4779F4E2B149}" dt="2022-01-18T13:17:13.436" v="2549" actId="14100"/>
          <ac:cxnSpMkLst>
            <pc:docMk/>
            <pc:sldMk cId="2465605942" sldId="2134805980"/>
            <ac:cxnSpMk id="119" creationId="{77B0F861-DB60-45B7-8FD6-97CC26165ECC}"/>
          </ac:cxnSpMkLst>
        </pc:cxnChg>
        <pc:cxnChg chg="add del mod">
          <ac:chgData name="Luciano Moreira" userId="81b8fdb4-f0e4-4457-95d0-b1edd3d5525c" providerId="ADAL" clId="{675B7749-5C25-4F76-A446-4779F4E2B149}" dt="2022-01-18T13:17:09.932" v="2548" actId="478"/>
          <ac:cxnSpMkLst>
            <pc:docMk/>
            <pc:sldMk cId="2465605942" sldId="2134805980"/>
            <ac:cxnSpMk id="121" creationId="{17E6ACAA-02F8-4DBF-87C1-0B37C8059414}"/>
          </ac:cxnSpMkLst>
        </pc:cxnChg>
      </pc:sldChg>
      <pc:sldChg chg="addSp delSp modSp add mod ord">
        <pc:chgData name="Luciano Moreira" userId="81b8fdb4-f0e4-4457-95d0-b1edd3d5525c" providerId="ADAL" clId="{675B7749-5C25-4F76-A446-4779F4E2B149}" dt="2022-01-28T01:36:11.417" v="4941"/>
        <pc:sldMkLst>
          <pc:docMk/>
          <pc:sldMk cId="3079983356" sldId="2134805981"/>
        </pc:sldMkLst>
        <pc:spChg chg="mod">
          <ac:chgData name="Luciano Moreira" userId="81b8fdb4-f0e4-4457-95d0-b1edd3d5525c" providerId="ADAL" clId="{675B7749-5C25-4F76-A446-4779F4E2B149}" dt="2022-01-18T12:16:32.677" v="2015" actId="6549"/>
          <ac:spMkLst>
            <pc:docMk/>
            <pc:sldMk cId="3079983356" sldId="2134805981"/>
            <ac:spMk id="2" creationId="{F4E24130-22BE-475D-B99E-58E522A4A65B}"/>
          </ac:spMkLst>
        </pc:spChg>
        <pc:picChg chg="add mod">
          <ac:chgData name="Luciano Moreira" userId="81b8fdb4-f0e4-4457-95d0-b1edd3d5525c" providerId="ADAL" clId="{675B7749-5C25-4F76-A446-4779F4E2B149}" dt="2022-01-18T12:16:38.295" v="2017" actId="14100"/>
          <ac:picMkLst>
            <pc:docMk/>
            <pc:sldMk cId="3079983356" sldId="2134805981"/>
            <ac:picMk id="3" creationId="{2AB3F73A-9CCC-4C6E-AB15-35137963B719}"/>
          </ac:picMkLst>
        </pc:picChg>
        <pc:picChg chg="del">
          <ac:chgData name="Luciano Moreira" userId="81b8fdb4-f0e4-4457-95d0-b1edd3d5525c" providerId="ADAL" clId="{675B7749-5C25-4F76-A446-4779F4E2B149}" dt="2022-01-18T12:16:19.318" v="2009" actId="478"/>
          <ac:picMkLst>
            <pc:docMk/>
            <pc:sldMk cId="3079983356" sldId="2134805981"/>
            <ac:picMk id="2050" creationId="{AB6B9C7F-50CB-4565-B6B6-F025F561C71E}"/>
          </ac:picMkLst>
        </pc:picChg>
      </pc:sldChg>
      <pc:sldChg chg="add del">
        <pc:chgData name="Luciano Moreira" userId="81b8fdb4-f0e4-4457-95d0-b1edd3d5525c" providerId="ADAL" clId="{675B7749-5C25-4F76-A446-4779F4E2B149}" dt="2022-01-18T13:35:48.992" v="2626" actId="47"/>
        <pc:sldMkLst>
          <pc:docMk/>
          <pc:sldMk cId="3460059524" sldId="2134805982"/>
        </pc:sldMkLst>
      </pc:sldChg>
      <pc:sldChg chg="addSp delSp modSp add mod addAnim delAnim modAnim modNotesTx">
        <pc:chgData name="Luciano Moreira" userId="81b8fdb4-f0e4-4457-95d0-b1edd3d5525c" providerId="ADAL" clId="{675B7749-5C25-4F76-A446-4779F4E2B149}" dt="2022-01-28T01:46:19.586" v="4979" actId="20577"/>
        <pc:sldMkLst>
          <pc:docMk/>
          <pc:sldMk cId="1421579658" sldId="2134805983"/>
        </pc:sldMkLst>
        <pc:spChg chg="add mod">
          <ac:chgData name="Luciano Moreira" userId="81b8fdb4-f0e4-4457-95d0-b1edd3d5525c" providerId="ADAL" clId="{675B7749-5C25-4F76-A446-4779F4E2B149}" dt="2022-01-18T13:49:11.282" v="2787" actId="20577"/>
          <ac:spMkLst>
            <pc:docMk/>
            <pc:sldMk cId="1421579658" sldId="2134805983"/>
            <ac:spMk id="14" creationId="{95454A12-578F-41A8-90FC-B9C6B301FAEA}"/>
          </ac:spMkLst>
        </pc:spChg>
        <pc:spChg chg="mod">
          <ac:chgData name="Luciano Moreira" userId="81b8fdb4-f0e4-4457-95d0-b1edd3d5525c" providerId="ADAL" clId="{675B7749-5C25-4F76-A446-4779F4E2B149}" dt="2022-01-18T13:35:59.966" v="2628" actId="14100"/>
          <ac:spMkLst>
            <pc:docMk/>
            <pc:sldMk cId="1421579658" sldId="2134805983"/>
            <ac:spMk id="22" creationId="{B752C090-2C96-4E27-BC4B-EF9FFA822A7D}"/>
          </ac:spMkLst>
        </pc:spChg>
        <pc:spChg chg="add del mod">
          <ac:chgData name="Luciano Moreira" userId="81b8fdb4-f0e4-4457-95d0-b1edd3d5525c" providerId="ADAL" clId="{675B7749-5C25-4F76-A446-4779F4E2B149}" dt="2022-01-18T13:39:42.234" v="2686" actId="478"/>
          <ac:spMkLst>
            <pc:docMk/>
            <pc:sldMk cId="1421579658" sldId="2134805983"/>
            <ac:spMk id="54" creationId="{131EEC53-F134-449C-8665-3AF5B36D71BD}"/>
          </ac:spMkLst>
        </pc:spChg>
        <pc:spChg chg="add del mod">
          <ac:chgData name="Luciano Moreira" userId="81b8fdb4-f0e4-4457-95d0-b1edd3d5525c" providerId="ADAL" clId="{675B7749-5C25-4F76-A446-4779F4E2B149}" dt="2022-01-18T13:46:54.706" v="2755" actId="22"/>
          <ac:spMkLst>
            <pc:docMk/>
            <pc:sldMk cId="1421579658" sldId="2134805983"/>
            <ac:spMk id="58" creationId="{FC2334C8-02E6-4E3F-B756-C3F30DA5CEFD}"/>
          </ac:spMkLst>
        </pc:spChg>
        <pc:spChg chg="add del mod">
          <ac:chgData name="Luciano Moreira" userId="81b8fdb4-f0e4-4457-95d0-b1edd3d5525c" providerId="ADAL" clId="{675B7749-5C25-4F76-A446-4779F4E2B149}" dt="2022-01-18T13:48:23.753" v="2782" actId="113"/>
          <ac:spMkLst>
            <pc:docMk/>
            <pc:sldMk cId="1421579658" sldId="2134805983"/>
            <ac:spMk id="60" creationId="{C971820E-35FC-4E8D-9EB0-5DAF8A476E75}"/>
          </ac:spMkLst>
        </pc:spChg>
        <pc:spChg chg="add del mod">
          <ac:chgData name="Luciano Moreira" userId="81b8fdb4-f0e4-4457-95d0-b1edd3d5525c" providerId="ADAL" clId="{675B7749-5C25-4F76-A446-4779F4E2B149}" dt="2022-01-18T13:50:00.479" v="2819" actId="20577"/>
          <ac:spMkLst>
            <pc:docMk/>
            <pc:sldMk cId="1421579658" sldId="2134805983"/>
            <ac:spMk id="67" creationId="{D1C1BC2F-0892-457E-B2A3-FAE754558B62}"/>
          </ac:spMkLst>
        </pc:spChg>
        <pc:spChg chg="del">
          <ac:chgData name="Luciano Moreira" userId="81b8fdb4-f0e4-4457-95d0-b1edd3d5525c" providerId="ADAL" clId="{675B7749-5C25-4F76-A446-4779F4E2B149}" dt="2022-01-18T13:37:29.169" v="2652" actId="478"/>
          <ac:spMkLst>
            <pc:docMk/>
            <pc:sldMk cId="1421579658" sldId="2134805983"/>
            <ac:spMk id="126" creationId="{A2DBE953-5E4A-470D-8D48-8BD0FB1BAC29}"/>
          </ac:spMkLst>
        </pc:spChg>
        <pc:spChg chg="del">
          <ac:chgData name="Luciano Moreira" userId="81b8fdb4-f0e4-4457-95d0-b1edd3d5525c" providerId="ADAL" clId="{675B7749-5C25-4F76-A446-4779F4E2B149}" dt="2022-01-18T13:36:25.739" v="2633" actId="478"/>
          <ac:spMkLst>
            <pc:docMk/>
            <pc:sldMk cId="1421579658" sldId="2134805983"/>
            <ac:spMk id="128" creationId="{9BA3C227-E253-4ED6-A02F-C8CEE648F25A}"/>
          </ac:spMkLst>
        </pc:spChg>
        <pc:spChg chg="del">
          <ac:chgData name="Luciano Moreira" userId="81b8fdb4-f0e4-4457-95d0-b1edd3d5525c" providerId="ADAL" clId="{675B7749-5C25-4F76-A446-4779F4E2B149}" dt="2022-01-18T13:38:11.845" v="2677" actId="478"/>
          <ac:spMkLst>
            <pc:docMk/>
            <pc:sldMk cId="1421579658" sldId="2134805983"/>
            <ac:spMk id="130" creationId="{7C8E6D53-CA5A-4FF4-AB5E-28E8B49EF3F3}"/>
          </ac:spMkLst>
        </pc:spChg>
        <pc:spChg chg="del">
          <ac:chgData name="Luciano Moreira" userId="81b8fdb4-f0e4-4457-95d0-b1edd3d5525c" providerId="ADAL" clId="{675B7749-5C25-4F76-A446-4779F4E2B149}" dt="2022-01-18T13:38:13.947" v="2678" actId="478"/>
          <ac:spMkLst>
            <pc:docMk/>
            <pc:sldMk cId="1421579658" sldId="2134805983"/>
            <ac:spMk id="132" creationId="{5B4209FC-EAA7-41CA-819F-83CCF6CC472A}"/>
          </ac:spMkLst>
        </pc:spChg>
        <pc:spChg chg="del">
          <ac:chgData name="Luciano Moreira" userId="81b8fdb4-f0e4-4457-95d0-b1edd3d5525c" providerId="ADAL" clId="{675B7749-5C25-4F76-A446-4779F4E2B149}" dt="2022-01-18T13:38:15.147" v="2679" actId="478"/>
          <ac:spMkLst>
            <pc:docMk/>
            <pc:sldMk cId="1421579658" sldId="2134805983"/>
            <ac:spMk id="134" creationId="{2961C2FD-DCD5-4064-A16E-3BDE390C9D60}"/>
          </ac:spMkLst>
        </pc:spChg>
        <pc:spChg chg="del">
          <ac:chgData name="Luciano Moreira" userId="81b8fdb4-f0e4-4457-95d0-b1edd3d5525c" providerId="ADAL" clId="{675B7749-5C25-4F76-A446-4779F4E2B149}" dt="2022-01-18T13:36:36.933" v="2638" actId="478"/>
          <ac:spMkLst>
            <pc:docMk/>
            <pc:sldMk cId="1421579658" sldId="2134805983"/>
            <ac:spMk id="136" creationId="{2FB37295-3443-45DA-8928-3304B906FCE5}"/>
          </ac:spMkLst>
        </pc:spChg>
        <pc:spChg chg="del">
          <ac:chgData name="Luciano Moreira" userId="81b8fdb4-f0e4-4457-95d0-b1edd3d5525c" providerId="ADAL" clId="{675B7749-5C25-4F76-A446-4779F4E2B149}" dt="2022-01-18T13:36:43.743" v="2642" actId="478"/>
          <ac:spMkLst>
            <pc:docMk/>
            <pc:sldMk cId="1421579658" sldId="2134805983"/>
            <ac:spMk id="138" creationId="{2A6DEE09-8679-4618-A662-1D453A453295}"/>
          </ac:spMkLst>
        </pc:spChg>
        <pc:spChg chg="del">
          <ac:chgData name="Luciano Moreira" userId="81b8fdb4-f0e4-4457-95d0-b1edd3d5525c" providerId="ADAL" clId="{675B7749-5C25-4F76-A446-4779F4E2B149}" dt="2022-01-18T13:36:35.680" v="2637" actId="478"/>
          <ac:spMkLst>
            <pc:docMk/>
            <pc:sldMk cId="1421579658" sldId="2134805983"/>
            <ac:spMk id="140" creationId="{A9689E42-C304-4104-9538-88929E9591F3}"/>
          </ac:spMkLst>
        </pc:spChg>
        <pc:spChg chg="del">
          <ac:chgData name="Luciano Moreira" userId="81b8fdb4-f0e4-4457-95d0-b1edd3d5525c" providerId="ADAL" clId="{675B7749-5C25-4F76-A446-4779F4E2B149}" dt="2022-01-18T13:37:30.598" v="2653" actId="478"/>
          <ac:spMkLst>
            <pc:docMk/>
            <pc:sldMk cId="1421579658" sldId="2134805983"/>
            <ac:spMk id="142" creationId="{A5F8C61E-E0E0-4844-8214-26DA50992E98}"/>
          </ac:spMkLst>
        </pc:spChg>
        <pc:cxnChg chg="add del mod">
          <ac:chgData name="Luciano Moreira" userId="81b8fdb4-f0e4-4457-95d0-b1edd3d5525c" providerId="ADAL" clId="{675B7749-5C25-4F76-A446-4779F4E2B149}" dt="2022-01-18T13:43:45.213" v="2736" actId="478"/>
          <ac:cxnSpMkLst>
            <pc:docMk/>
            <pc:sldMk cId="1421579658" sldId="2134805983"/>
            <ac:cxnSpMk id="11" creationId="{757FE82E-87F8-435B-AD1D-1CDDB05F7419}"/>
          </ac:cxnSpMkLst>
        </pc:cxnChg>
        <pc:cxnChg chg="mod">
          <ac:chgData name="Luciano Moreira" userId="81b8fdb4-f0e4-4457-95d0-b1edd3d5525c" providerId="ADAL" clId="{675B7749-5C25-4F76-A446-4779F4E2B149}" dt="2022-01-18T13:36:04.930" v="2629" actId="1076"/>
          <ac:cxnSpMkLst>
            <pc:docMk/>
            <pc:sldMk cId="1421579658" sldId="2134805983"/>
            <ac:cxnSpMk id="69" creationId="{2C399A27-654B-408A-8801-5B52B70952B5}"/>
          </ac:cxnSpMkLst>
        </pc:cxnChg>
        <pc:cxnChg chg="mod">
          <ac:chgData name="Luciano Moreira" userId="81b8fdb4-f0e4-4457-95d0-b1edd3d5525c" providerId="ADAL" clId="{675B7749-5C25-4F76-A446-4779F4E2B149}" dt="2022-01-18T13:36:06.763" v="2630" actId="1076"/>
          <ac:cxnSpMkLst>
            <pc:docMk/>
            <pc:sldMk cId="1421579658" sldId="2134805983"/>
            <ac:cxnSpMk id="84" creationId="{FD23EC15-3B8E-4430-9AD7-22547557E748}"/>
          </ac:cxnSpMkLst>
        </pc:cxnChg>
        <pc:cxnChg chg="mod">
          <ac:chgData name="Luciano Moreira" userId="81b8fdb4-f0e4-4457-95d0-b1edd3d5525c" providerId="ADAL" clId="{675B7749-5C25-4F76-A446-4779F4E2B149}" dt="2022-01-18T13:36:51.760" v="2645" actId="14100"/>
          <ac:cxnSpMkLst>
            <pc:docMk/>
            <pc:sldMk cId="1421579658" sldId="2134805983"/>
            <ac:cxnSpMk id="88" creationId="{87853C80-601C-4B4D-B794-CD787D93A0F3}"/>
          </ac:cxnSpMkLst>
        </pc:cxnChg>
        <pc:cxnChg chg="del">
          <ac:chgData name="Luciano Moreira" userId="81b8fdb4-f0e4-4457-95d0-b1edd3d5525c" providerId="ADAL" clId="{675B7749-5C25-4F76-A446-4779F4E2B149}" dt="2022-01-18T13:36:44.407" v="2643" actId="478"/>
          <ac:cxnSpMkLst>
            <pc:docMk/>
            <pc:sldMk cId="1421579658" sldId="2134805983"/>
            <ac:cxnSpMk id="91" creationId="{D6A97BC3-E873-43CE-A820-9ECB7AAEC5EA}"/>
          </ac:cxnSpMkLst>
        </pc:cxnChg>
        <pc:cxnChg chg="del">
          <ac:chgData name="Luciano Moreira" userId="81b8fdb4-f0e4-4457-95d0-b1edd3d5525c" providerId="ADAL" clId="{675B7749-5C25-4F76-A446-4779F4E2B149}" dt="2022-01-18T13:36:37.641" v="2639" actId="478"/>
          <ac:cxnSpMkLst>
            <pc:docMk/>
            <pc:sldMk cId="1421579658" sldId="2134805983"/>
            <ac:cxnSpMk id="93" creationId="{9572DAFB-CEA3-4FCC-866D-45E8ADC8441C}"/>
          </ac:cxnSpMkLst>
        </pc:cxnChg>
        <pc:cxnChg chg="del mod">
          <ac:chgData name="Luciano Moreira" userId="81b8fdb4-f0e4-4457-95d0-b1edd3d5525c" providerId="ADAL" clId="{675B7749-5C25-4F76-A446-4779F4E2B149}" dt="2022-01-18T13:41:55.347" v="2710" actId="478"/>
          <ac:cxnSpMkLst>
            <pc:docMk/>
            <pc:sldMk cId="1421579658" sldId="2134805983"/>
            <ac:cxnSpMk id="95" creationId="{D21CEF0F-9AEA-41E8-B292-9DEFF7D74109}"/>
          </ac:cxnSpMkLst>
        </pc:cxnChg>
        <pc:cxnChg chg="del mod">
          <ac:chgData name="Luciano Moreira" userId="81b8fdb4-f0e4-4457-95d0-b1edd3d5525c" providerId="ADAL" clId="{675B7749-5C25-4F76-A446-4779F4E2B149}" dt="2022-01-18T13:41:57.606" v="2713" actId="478"/>
          <ac:cxnSpMkLst>
            <pc:docMk/>
            <pc:sldMk cId="1421579658" sldId="2134805983"/>
            <ac:cxnSpMk id="98" creationId="{14FA0294-3F0B-425E-8C82-03B3DB64834F}"/>
          </ac:cxnSpMkLst>
        </pc:cxnChg>
        <pc:cxnChg chg="del mod">
          <ac:chgData name="Luciano Moreira" userId="81b8fdb4-f0e4-4457-95d0-b1edd3d5525c" providerId="ADAL" clId="{675B7749-5C25-4F76-A446-4779F4E2B149}" dt="2022-01-18T13:41:56.083" v="2711" actId="478"/>
          <ac:cxnSpMkLst>
            <pc:docMk/>
            <pc:sldMk cId="1421579658" sldId="2134805983"/>
            <ac:cxnSpMk id="102" creationId="{ACE847CF-4677-47DF-85A2-ACD9EF5CDB1B}"/>
          </ac:cxnSpMkLst>
        </pc:cxnChg>
        <pc:cxnChg chg="del mod">
          <ac:chgData name="Luciano Moreira" userId="81b8fdb4-f0e4-4457-95d0-b1edd3d5525c" providerId="ADAL" clId="{675B7749-5C25-4F76-A446-4779F4E2B149}" dt="2022-01-18T13:41:57.024" v="2712" actId="478"/>
          <ac:cxnSpMkLst>
            <pc:docMk/>
            <pc:sldMk cId="1421579658" sldId="2134805983"/>
            <ac:cxnSpMk id="108" creationId="{1A79707B-6973-4CDA-BDB9-25C7C853F185}"/>
          </ac:cxnSpMkLst>
        </pc:cxnChg>
        <pc:cxnChg chg="del">
          <ac:chgData name="Luciano Moreira" userId="81b8fdb4-f0e4-4457-95d0-b1edd3d5525c" providerId="ADAL" clId="{675B7749-5C25-4F76-A446-4779F4E2B149}" dt="2022-01-18T13:36:47.511" v="2644" actId="478"/>
          <ac:cxnSpMkLst>
            <pc:docMk/>
            <pc:sldMk cId="1421579658" sldId="2134805983"/>
            <ac:cxnSpMk id="112" creationId="{ABAECF21-7600-48F2-84D9-850C616B2157}"/>
          </ac:cxnSpMkLst>
        </pc:cxnChg>
        <pc:cxnChg chg="del">
          <ac:chgData name="Luciano Moreira" userId="81b8fdb4-f0e4-4457-95d0-b1edd3d5525c" providerId="ADAL" clId="{675B7749-5C25-4F76-A446-4779F4E2B149}" dt="2022-01-18T13:36:34.200" v="2636" actId="478"/>
          <ac:cxnSpMkLst>
            <pc:docMk/>
            <pc:sldMk cId="1421579658" sldId="2134805983"/>
            <ac:cxnSpMk id="118" creationId="{C1136473-BBF5-4D32-8D10-8E4C2D1DD963}"/>
          </ac:cxnSpMkLst>
        </pc:cxnChg>
        <pc:cxnChg chg="del mod">
          <ac:chgData name="Luciano Moreira" userId="81b8fdb4-f0e4-4457-95d0-b1edd3d5525c" providerId="ADAL" clId="{675B7749-5C25-4F76-A446-4779F4E2B149}" dt="2022-01-18T13:41:43.484" v="2708" actId="478"/>
          <ac:cxnSpMkLst>
            <pc:docMk/>
            <pc:sldMk cId="1421579658" sldId="2134805983"/>
            <ac:cxnSpMk id="119" creationId="{77B0F861-DB60-45B7-8FD6-97CC26165ECC}"/>
          </ac:cxnSpMkLst>
        </pc:cxnChg>
      </pc:sldChg>
      <pc:sldChg chg="addSp delSp modSp add mod delAnim modAnim modNotesTx">
        <pc:chgData name="Luciano Moreira" userId="81b8fdb4-f0e4-4457-95d0-b1edd3d5525c" providerId="ADAL" clId="{675B7749-5C25-4F76-A446-4779F4E2B149}" dt="2022-01-28T01:47:07.817" v="5003" actId="1076"/>
        <pc:sldMkLst>
          <pc:docMk/>
          <pc:sldMk cId="3808096437" sldId="2134805984"/>
        </pc:sldMkLst>
        <pc:spChg chg="add mod">
          <ac:chgData name="Luciano Moreira" userId="81b8fdb4-f0e4-4457-95d0-b1edd3d5525c" providerId="ADAL" clId="{675B7749-5C25-4F76-A446-4779F4E2B149}" dt="2022-01-28T01:47:07.817" v="5003" actId="1076"/>
          <ac:spMkLst>
            <pc:docMk/>
            <pc:sldMk cId="3808096437" sldId="2134805984"/>
            <ac:spMk id="2" creationId="{BFCAACF6-23A0-47F6-9D3D-AE4C1DFD4833}"/>
          </ac:spMkLst>
        </pc:spChg>
        <pc:spChg chg="add mod">
          <ac:chgData name="Luciano Moreira" userId="81b8fdb4-f0e4-4457-95d0-b1edd3d5525c" providerId="ADAL" clId="{675B7749-5C25-4F76-A446-4779F4E2B149}" dt="2022-01-18T14:02:44.500" v="3029"/>
          <ac:spMkLst>
            <pc:docMk/>
            <pc:sldMk cId="3808096437" sldId="2134805984"/>
            <ac:spMk id="10" creationId="{8DC1C39F-8A57-4641-81E2-285EB191EC19}"/>
          </ac:spMkLst>
        </pc:spChg>
        <pc:spChg chg="add mod">
          <ac:chgData name="Luciano Moreira" userId="81b8fdb4-f0e4-4457-95d0-b1edd3d5525c" providerId="ADAL" clId="{675B7749-5C25-4F76-A446-4779F4E2B149}" dt="2022-01-18T14:08:48.184" v="3089" actId="1076"/>
          <ac:spMkLst>
            <pc:docMk/>
            <pc:sldMk cId="3808096437" sldId="2134805984"/>
            <ac:spMk id="12" creationId="{EE375F4C-2CC9-4BFC-BF95-CF643A16C842}"/>
          </ac:spMkLst>
        </pc:spChg>
        <pc:spChg chg="add mod">
          <ac:chgData name="Luciano Moreira" userId="81b8fdb4-f0e4-4457-95d0-b1edd3d5525c" providerId="ADAL" clId="{675B7749-5C25-4F76-A446-4779F4E2B149}" dt="2022-01-18T14:03:34.815" v="3083" actId="1076"/>
          <ac:spMkLst>
            <pc:docMk/>
            <pc:sldMk cId="3808096437" sldId="2134805984"/>
            <ac:spMk id="13" creationId="{052DC858-3765-44DD-83FD-8DBE615FAC24}"/>
          </ac:spMkLst>
        </pc:spChg>
        <pc:spChg chg="del">
          <ac:chgData name="Luciano Moreira" userId="81b8fdb4-f0e4-4457-95d0-b1edd3d5525c" providerId="ADAL" clId="{675B7749-5C25-4F76-A446-4779F4E2B149}" dt="2022-01-18T13:56:01.165" v="2822" actId="478"/>
          <ac:spMkLst>
            <pc:docMk/>
            <pc:sldMk cId="3808096437" sldId="2134805984"/>
            <ac:spMk id="14" creationId="{95454A12-578F-41A8-90FC-B9C6B301FAEA}"/>
          </ac:spMkLst>
        </pc:spChg>
        <pc:spChg chg="mod">
          <ac:chgData name="Luciano Moreira" userId="81b8fdb4-f0e4-4457-95d0-b1edd3d5525c" providerId="ADAL" clId="{675B7749-5C25-4F76-A446-4779F4E2B149}" dt="2022-01-18T13:57:55.401" v="2932" actId="1076"/>
          <ac:spMkLst>
            <pc:docMk/>
            <pc:sldMk cId="3808096437" sldId="2134805984"/>
            <ac:spMk id="26" creationId="{273290DA-309D-4C0A-B968-000840071FFC}"/>
          </ac:spMkLst>
        </pc:spChg>
        <pc:spChg chg="del">
          <ac:chgData name="Luciano Moreira" userId="81b8fdb4-f0e4-4457-95d0-b1edd3d5525c" providerId="ADAL" clId="{675B7749-5C25-4F76-A446-4779F4E2B149}" dt="2022-01-18T13:56:35.227" v="2857" actId="478"/>
          <ac:spMkLst>
            <pc:docMk/>
            <pc:sldMk cId="3808096437" sldId="2134805984"/>
            <ac:spMk id="28" creationId="{4A1F37AA-7639-4175-9F96-ED013B084D5D}"/>
          </ac:spMkLst>
        </pc:spChg>
        <pc:spChg chg="del">
          <ac:chgData name="Luciano Moreira" userId="81b8fdb4-f0e4-4457-95d0-b1edd3d5525c" providerId="ADAL" clId="{675B7749-5C25-4F76-A446-4779F4E2B149}" dt="2022-01-18T13:56:33.346" v="2856" actId="478"/>
          <ac:spMkLst>
            <pc:docMk/>
            <pc:sldMk cId="3808096437" sldId="2134805984"/>
            <ac:spMk id="29" creationId="{B3911A2B-9095-4180-91D8-A0FA01EF8B4F}"/>
          </ac:spMkLst>
        </pc:spChg>
        <pc:spChg chg="del">
          <ac:chgData name="Luciano Moreira" userId="81b8fdb4-f0e4-4457-95d0-b1edd3d5525c" providerId="ADAL" clId="{675B7749-5C25-4F76-A446-4779F4E2B149}" dt="2022-01-18T13:56:33.346" v="2856" actId="478"/>
          <ac:spMkLst>
            <pc:docMk/>
            <pc:sldMk cId="3808096437" sldId="2134805984"/>
            <ac:spMk id="32" creationId="{2BD0A379-6FA4-44B4-8CBD-7AE98FE78F43}"/>
          </ac:spMkLst>
        </pc:spChg>
        <pc:spChg chg="mod">
          <ac:chgData name="Luciano Moreira" userId="81b8fdb4-f0e4-4457-95d0-b1edd3d5525c" providerId="ADAL" clId="{675B7749-5C25-4F76-A446-4779F4E2B149}" dt="2022-01-18T13:58:07.324" v="2933" actId="1076"/>
          <ac:spMkLst>
            <pc:docMk/>
            <pc:sldMk cId="3808096437" sldId="2134805984"/>
            <ac:spMk id="43" creationId="{C297AFA7-93BF-4967-BDB2-DD33905427A6}"/>
          </ac:spMkLst>
        </pc:spChg>
        <pc:spChg chg="add del">
          <ac:chgData name="Luciano Moreira" userId="81b8fdb4-f0e4-4457-95d0-b1edd3d5525c" providerId="ADAL" clId="{675B7749-5C25-4F76-A446-4779F4E2B149}" dt="2022-01-18T14:00:34.241" v="3017" actId="22"/>
          <ac:spMkLst>
            <pc:docMk/>
            <pc:sldMk cId="3808096437" sldId="2134805984"/>
            <ac:spMk id="45" creationId="{8501A2EE-2916-4680-9BF7-F48343AAD808}"/>
          </ac:spMkLst>
        </pc:spChg>
        <pc:spChg chg="mod">
          <ac:chgData name="Luciano Moreira" userId="81b8fdb4-f0e4-4457-95d0-b1edd3d5525c" providerId="ADAL" clId="{675B7749-5C25-4F76-A446-4779F4E2B149}" dt="2022-01-18T13:58:07.324" v="2933" actId="1076"/>
          <ac:spMkLst>
            <pc:docMk/>
            <pc:sldMk cId="3808096437" sldId="2134805984"/>
            <ac:spMk id="57" creationId="{1C6AF795-0B4D-4070-86F0-A3785AB24106}"/>
          </ac:spMkLst>
        </pc:spChg>
        <pc:spChg chg="mod">
          <ac:chgData name="Luciano Moreira" userId="81b8fdb4-f0e4-4457-95d0-b1edd3d5525c" providerId="ADAL" clId="{675B7749-5C25-4F76-A446-4779F4E2B149}" dt="2022-01-18T13:58:07.324" v="2933" actId="1076"/>
          <ac:spMkLst>
            <pc:docMk/>
            <pc:sldMk cId="3808096437" sldId="2134805984"/>
            <ac:spMk id="59" creationId="{21E40231-F3C0-447A-AFC0-623056652003}"/>
          </ac:spMkLst>
        </pc:spChg>
        <pc:spChg chg="del">
          <ac:chgData name="Luciano Moreira" userId="81b8fdb4-f0e4-4457-95d0-b1edd3d5525c" providerId="ADAL" clId="{675B7749-5C25-4F76-A446-4779F4E2B149}" dt="2022-01-18T13:56:02.400" v="2823" actId="478"/>
          <ac:spMkLst>
            <pc:docMk/>
            <pc:sldMk cId="3808096437" sldId="2134805984"/>
            <ac:spMk id="60" creationId="{C971820E-35FC-4E8D-9EB0-5DAF8A476E75}"/>
          </ac:spMkLst>
        </pc:spChg>
        <pc:spChg chg="mod">
          <ac:chgData name="Luciano Moreira" userId="81b8fdb4-f0e4-4457-95d0-b1edd3d5525c" providerId="ADAL" clId="{675B7749-5C25-4F76-A446-4779F4E2B149}" dt="2022-01-18T13:58:07.324" v="2933" actId="1076"/>
          <ac:spMkLst>
            <pc:docMk/>
            <pc:sldMk cId="3808096437" sldId="2134805984"/>
            <ac:spMk id="61" creationId="{02495E9B-0117-4D57-B8DA-AAF348677163}"/>
          </ac:spMkLst>
        </pc:spChg>
        <pc:spChg chg="mod">
          <ac:chgData name="Luciano Moreira" userId="81b8fdb4-f0e4-4457-95d0-b1edd3d5525c" providerId="ADAL" clId="{675B7749-5C25-4F76-A446-4779F4E2B149}" dt="2022-01-18T14:02:59.150" v="3030" actId="20577"/>
          <ac:spMkLst>
            <pc:docMk/>
            <pc:sldMk cId="3808096437" sldId="2134805984"/>
            <ac:spMk id="67" creationId="{D1C1BC2F-0892-457E-B2A3-FAE754558B62}"/>
          </ac:spMkLst>
        </pc:spChg>
        <pc:cxnChg chg="add mod">
          <ac:chgData name="Luciano Moreira" userId="81b8fdb4-f0e4-4457-95d0-b1edd3d5525c" providerId="ADAL" clId="{675B7749-5C25-4F76-A446-4779F4E2B149}" dt="2022-01-18T13:58:34.861" v="2936" actId="208"/>
          <ac:cxnSpMkLst>
            <pc:docMk/>
            <pc:sldMk cId="3808096437" sldId="2134805984"/>
            <ac:cxnSpMk id="4" creationId="{AD74D346-8685-4CEE-8640-7BC962943F0E}"/>
          </ac:cxnSpMkLst>
        </pc:cxnChg>
        <pc:cxnChg chg="add mod">
          <ac:chgData name="Luciano Moreira" userId="81b8fdb4-f0e4-4457-95d0-b1edd3d5525c" providerId="ADAL" clId="{675B7749-5C25-4F76-A446-4779F4E2B149}" dt="2022-01-18T13:58:34.861" v="2936" actId="208"/>
          <ac:cxnSpMkLst>
            <pc:docMk/>
            <pc:sldMk cId="3808096437" sldId="2134805984"/>
            <ac:cxnSpMk id="5" creationId="{01566E56-2DA1-4F7D-85C8-239872CC0D27}"/>
          </ac:cxnSpMkLst>
        </pc:cxnChg>
        <pc:cxnChg chg="add mod">
          <ac:chgData name="Luciano Moreira" userId="81b8fdb4-f0e4-4457-95d0-b1edd3d5525c" providerId="ADAL" clId="{675B7749-5C25-4F76-A446-4779F4E2B149}" dt="2022-01-18T13:58:34.861" v="2936" actId="208"/>
          <ac:cxnSpMkLst>
            <pc:docMk/>
            <pc:sldMk cId="3808096437" sldId="2134805984"/>
            <ac:cxnSpMk id="6" creationId="{6F54AB55-A147-4FAC-B59E-A8B33EEE3A1F}"/>
          </ac:cxnSpMkLst>
        </pc:cxnChg>
        <pc:cxnChg chg="add mod">
          <ac:chgData name="Luciano Moreira" userId="81b8fdb4-f0e4-4457-95d0-b1edd3d5525c" providerId="ADAL" clId="{675B7749-5C25-4F76-A446-4779F4E2B149}" dt="2022-01-18T13:58:42.585" v="2939" actId="1076"/>
          <ac:cxnSpMkLst>
            <pc:docMk/>
            <pc:sldMk cId="3808096437" sldId="2134805984"/>
            <ac:cxnSpMk id="7" creationId="{E9D249D8-BB4A-4071-83C9-3572BE774841}"/>
          </ac:cxnSpMkLst>
        </pc:cxnChg>
        <pc:cxnChg chg="add mod">
          <ac:chgData name="Luciano Moreira" userId="81b8fdb4-f0e4-4457-95d0-b1edd3d5525c" providerId="ADAL" clId="{675B7749-5C25-4F76-A446-4779F4E2B149}" dt="2022-01-18T13:58:34.861" v="2936" actId="208"/>
          <ac:cxnSpMkLst>
            <pc:docMk/>
            <pc:sldMk cId="3808096437" sldId="2134805984"/>
            <ac:cxnSpMk id="27" creationId="{DD2CD7A2-A8C6-460E-8CD6-67D4DAA3D0D5}"/>
          </ac:cxnSpMkLst>
        </pc:cxnChg>
        <pc:cxnChg chg="add mod">
          <ac:chgData name="Luciano Moreira" userId="81b8fdb4-f0e4-4457-95d0-b1edd3d5525c" providerId="ADAL" clId="{675B7749-5C25-4F76-A446-4779F4E2B149}" dt="2022-01-18T13:58:34.861" v="2936" actId="208"/>
          <ac:cxnSpMkLst>
            <pc:docMk/>
            <pc:sldMk cId="3808096437" sldId="2134805984"/>
            <ac:cxnSpMk id="30" creationId="{E4352FD4-73EB-4C7A-85BA-BACC0FFDD359}"/>
          </ac:cxnSpMkLst>
        </pc:cxnChg>
        <pc:cxnChg chg="add mod">
          <ac:chgData name="Luciano Moreira" userId="81b8fdb4-f0e4-4457-95d0-b1edd3d5525c" providerId="ADAL" clId="{675B7749-5C25-4F76-A446-4779F4E2B149}" dt="2022-01-18T13:58:34.861" v="2936" actId="208"/>
          <ac:cxnSpMkLst>
            <pc:docMk/>
            <pc:sldMk cId="3808096437" sldId="2134805984"/>
            <ac:cxnSpMk id="31" creationId="{C0B7CB7E-B48B-4363-B817-7D86BC14F079}"/>
          </ac:cxnSpMkLst>
        </pc:cxnChg>
        <pc:cxnChg chg="add del mod">
          <ac:chgData name="Luciano Moreira" userId="81b8fdb4-f0e4-4457-95d0-b1edd3d5525c" providerId="ADAL" clId="{675B7749-5C25-4F76-A446-4779F4E2B149}" dt="2022-01-18T13:57:11.375" v="2922" actId="478"/>
          <ac:cxnSpMkLst>
            <pc:docMk/>
            <pc:sldMk cId="3808096437" sldId="2134805984"/>
            <ac:cxnSpMk id="33" creationId="{30D01F8F-1093-4297-A673-050953C07737}"/>
          </ac:cxnSpMkLst>
        </pc:cxnChg>
        <pc:cxnChg chg="add del mod">
          <ac:chgData name="Luciano Moreira" userId="81b8fdb4-f0e4-4457-95d0-b1edd3d5525c" providerId="ADAL" clId="{675B7749-5C25-4F76-A446-4779F4E2B149}" dt="2022-01-18T13:57:12.120" v="2923" actId="478"/>
          <ac:cxnSpMkLst>
            <pc:docMk/>
            <pc:sldMk cId="3808096437" sldId="2134805984"/>
            <ac:cxnSpMk id="34" creationId="{ED2AF2FE-E155-4DEA-8FFA-109E049F3C6D}"/>
          </ac:cxnSpMkLst>
        </pc:cxnChg>
        <pc:cxnChg chg="mod">
          <ac:chgData name="Luciano Moreira" userId="81b8fdb4-f0e4-4457-95d0-b1edd3d5525c" providerId="ADAL" clId="{675B7749-5C25-4F76-A446-4779F4E2B149}" dt="2022-01-18T13:58:34.861" v="2936" actId="208"/>
          <ac:cxnSpMkLst>
            <pc:docMk/>
            <pc:sldMk cId="3808096437" sldId="2134805984"/>
            <ac:cxnSpMk id="88" creationId="{87853C80-601C-4B4D-B794-CD787D93A0F3}"/>
          </ac:cxnSpMkLst>
        </pc:cxnChg>
      </pc:sldChg>
      <pc:sldChg chg="modSp add mod">
        <pc:chgData name="Luciano Moreira" userId="81b8fdb4-f0e4-4457-95d0-b1edd3d5525c" providerId="ADAL" clId="{675B7749-5C25-4F76-A446-4779F4E2B149}" dt="2022-02-04T16:07:35.777" v="6523" actId="21"/>
        <pc:sldMkLst>
          <pc:docMk/>
          <pc:sldMk cId="4057827721" sldId="2134805985"/>
        </pc:sldMkLst>
        <pc:spChg chg="mod">
          <ac:chgData name="Luciano Moreira" userId="81b8fdb4-f0e4-4457-95d0-b1edd3d5525c" providerId="ADAL" clId="{675B7749-5C25-4F76-A446-4779F4E2B149}" dt="2022-01-18T14:16:02.873" v="3178" actId="20577"/>
          <ac:spMkLst>
            <pc:docMk/>
            <pc:sldMk cId="4057827721" sldId="2134805985"/>
            <ac:spMk id="2" creationId="{0C9FAE3A-FFD1-492F-A3BB-2ED8E5F5DDC9}"/>
          </ac:spMkLst>
        </pc:spChg>
        <pc:spChg chg="mod">
          <ac:chgData name="Luciano Moreira" userId="81b8fdb4-f0e4-4457-95d0-b1edd3d5525c" providerId="ADAL" clId="{675B7749-5C25-4F76-A446-4779F4E2B149}" dt="2022-02-04T16:07:35.777" v="6523" actId="21"/>
          <ac:spMkLst>
            <pc:docMk/>
            <pc:sldMk cId="4057827721" sldId="2134805985"/>
            <ac:spMk id="3" creationId="{7F7BA38C-0B4E-42CA-9731-232C90993BE3}"/>
          </ac:spMkLst>
        </pc:spChg>
      </pc:sldChg>
      <pc:sldChg chg="modSp add mod ord">
        <pc:chgData name="Luciano Moreira" userId="81b8fdb4-f0e4-4457-95d0-b1edd3d5525c" providerId="ADAL" clId="{675B7749-5C25-4F76-A446-4779F4E2B149}" dt="2022-03-18T14:21:59.817" v="6657"/>
        <pc:sldMkLst>
          <pc:docMk/>
          <pc:sldMk cId="3164731495" sldId="2134805986"/>
        </pc:sldMkLst>
        <pc:spChg chg="mod">
          <ac:chgData name="Luciano Moreira" userId="81b8fdb4-f0e4-4457-95d0-b1edd3d5525c" providerId="ADAL" clId="{675B7749-5C25-4F76-A446-4779F4E2B149}" dt="2022-01-28T13:18:25.654" v="5175" actId="21"/>
          <ac:spMkLst>
            <pc:docMk/>
            <pc:sldMk cId="3164731495" sldId="2134805986"/>
            <ac:spMk id="3" creationId="{7F7BA38C-0B4E-42CA-9731-232C90993BE3}"/>
          </ac:spMkLst>
        </pc:spChg>
      </pc:sldChg>
      <pc:sldChg chg="modSp add mod ord modShow">
        <pc:chgData name="Luciano Moreira" userId="81b8fdb4-f0e4-4457-95d0-b1edd3d5525c" providerId="ADAL" clId="{675B7749-5C25-4F76-A446-4779F4E2B149}" dt="2022-01-18T14:31:05.649" v="3739" actId="729"/>
        <pc:sldMkLst>
          <pc:docMk/>
          <pc:sldMk cId="1872076548" sldId="2134805987"/>
        </pc:sldMkLst>
        <pc:spChg chg="mod">
          <ac:chgData name="Luciano Moreira" userId="81b8fdb4-f0e4-4457-95d0-b1edd3d5525c" providerId="ADAL" clId="{675B7749-5C25-4F76-A446-4779F4E2B149}" dt="2022-01-18T14:30:05.105" v="3736" actId="20577"/>
          <ac:spMkLst>
            <pc:docMk/>
            <pc:sldMk cId="1872076548" sldId="2134805987"/>
            <ac:spMk id="2" creationId="{D6A5376F-A0DD-4803-B586-4ABB49308E71}"/>
          </ac:spMkLst>
        </pc:spChg>
      </pc:sldChg>
      <pc:sldChg chg="add del">
        <pc:chgData name="Luciano Moreira" userId="81b8fdb4-f0e4-4457-95d0-b1edd3d5525c" providerId="ADAL" clId="{675B7749-5C25-4F76-A446-4779F4E2B149}" dt="2022-01-18T14:20:02.353" v="3459"/>
        <pc:sldMkLst>
          <pc:docMk/>
          <pc:sldMk cId="2838041985" sldId="2134805987"/>
        </pc:sldMkLst>
      </pc:sldChg>
      <pc:sldChg chg="add del">
        <pc:chgData name="Luciano Moreira" userId="81b8fdb4-f0e4-4457-95d0-b1edd3d5525c" providerId="ADAL" clId="{675B7749-5C25-4F76-A446-4779F4E2B149}" dt="2022-01-18T14:20:10" v="3461"/>
        <pc:sldMkLst>
          <pc:docMk/>
          <pc:sldMk cId="3678975667" sldId="2134805987"/>
        </pc:sldMkLst>
      </pc:sldChg>
      <pc:sldChg chg="add">
        <pc:chgData name="Luciano Moreira" userId="81b8fdb4-f0e4-4457-95d0-b1edd3d5525c" providerId="ADAL" clId="{675B7749-5C25-4F76-A446-4779F4E2B149}" dt="2022-01-18T14:20:44.116" v="3497" actId="2890"/>
        <pc:sldMkLst>
          <pc:docMk/>
          <pc:sldMk cId="1489414041" sldId="2134805988"/>
        </pc:sldMkLst>
      </pc:sldChg>
      <pc:sldChg chg="add del">
        <pc:chgData name="Luciano Moreira" userId="81b8fdb4-f0e4-4457-95d0-b1edd3d5525c" providerId="ADAL" clId="{675B7749-5C25-4F76-A446-4779F4E2B149}" dt="2022-01-18T14:20:41.522" v="3496"/>
        <pc:sldMkLst>
          <pc:docMk/>
          <pc:sldMk cId="2226145998" sldId="2134805988"/>
        </pc:sldMkLst>
      </pc:sldChg>
      <pc:sldChg chg="addSp delSp modSp add mod ord modAnim modNotesTx">
        <pc:chgData name="Luciano Moreira" userId="81b8fdb4-f0e4-4457-95d0-b1edd3d5525c" providerId="ADAL" clId="{675B7749-5C25-4F76-A446-4779F4E2B149}" dt="2022-01-18T14:31:02.346" v="3738"/>
        <pc:sldMkLst>
          <pc:docMk/>
          <pc:sldMk cId="3765687255" sldId="2134805989"/>
        </pc:sldMkLst>
        <pc:spChg chg="add del mod">
          <ac:chgData name="Luciano Moreira" userId="81b8fdb4-f0e4-4457-95d0-b1edd3d5525c" providerId="ADAL" clId="{675B7749-5C25-4F76-A446-4779F4E2B149}" dt="2022-01-18T14:28:46.554" v="3722" actId="478"/>
          <ac:spMkLst>
            <pc:docMk/>
            <pc:sldMk cId="3765687255" sldId="2134805989"/>
            <ac:spMk id="9" creationId="{00CE396D-CE2E-45B8-B0F4-A4933C27F40A}"/>
          </ac:spMkLst>
        </pc:spChg>
        <pc:spChg chg="mod">
          <ac:chgData name="Luciano Moreira" userId="81b8fdb4-f0e4-4457-95d0-b1edd3d5525c" providerId="ADAL" clId="{675B7749-5C25-4F76-A446-4779F4E2B149}" dt="2022-01-18T14:27:45.053" v="3699" actId="14100"/>
          <ac:spMkLst>
            <pc:docMk/>
            <pc:sldMk cId="3765687255" sldId="2134805989"/>
            <ac:spMk id="18" creationId="{00000000-0000-0000-0000-000000000000}"/>
          </ac:spMkLst>
        </pc:spChg>
        <pc:spChg chg="mod">
          <ac:chgData name="Luciano Moreira" userId="81b8fdb4-f0e4-4457-95d0-b1edd3d5525c" providerId="ADAL" clId="{675B7749-5C25-4F76-A446-4779F4E2B149}" dt="2022-01-18T14:24:48.668" v="3623" actId="114"/>
          <ac:spMkLst>
            <pc:docMk/>
            <pc:sldMk cId="3765687255" sldId="2134805989"/>
            <ac:spMk id="22" creationId="{B752C090-2C96-4E27-BC4B-EF9FFA822A7D}"/>
          </ac:spMkLst>
        </pc:spChg>
        <pc:spChg chg="add del">
          <ac:chgData name="Luciano Moreira" userId="81b8fdb4-f0e4-4457-95d0-b1edd3d5525c" providerId="ADAL" clId="{675B7749-5C25-4F76-A446-4779F4E2B149}" dt="2022-01-18T14:24:22.752" v="3574" actId="22"/>
          <ac:spMkLst>
            <pc:docMk/>
            <pc:sldMk cId="3765687255" sldId="2134805989"/>
            <ac:spMk id="42" creationId="{88C9EFA7-9D2B-4032-B1CC-CAE30A192509}"/>
          </ac:spMkLst>
        </pc:spChg>
        <pc:spChg chg="add del">
          <ac:chgData name="Luciano Moreira" userId="81b8fdb4-f0e4-4457-95d0-b1edd3d5525c" providerId="ADAL" clId="{675B7749-5C25-4F76-A446-4779F4E2B149}" dt="2022-01-18T14:27:53.250" v="3701" actId="22"/>
          <ac:spMkLst>
            <pc:docMk/>
            <pc:sldMk cId="3765687255" sldId="2134805989"/>
            <ac:spMk id="51" creationId="{F7546641-9854-4419-B5B3-A6703476012E}"/>
          </ac:spMkLst>
        </pc:spChg>
        <pc:spChg chg="add del mod">
          <ac:chgData name="Luciano Moreira" userId="81b8fdb4-f0e4-4457-95d0-b1edd3d5525c" providerId="ADAL" clId="{675B7749-5C25-4F76-A446-4779F4E2B149}" dt="2022-01-18T14:28:43.832" v="3721" actId="478"/>
          <ac:spMkLst>
            <pc:docMk/>
            <pc:sldMk cId="3765687255" sldId="2134805989"/>
            <ac:spMk id="52" creationId="{24ED5EAD-8166-48E0-A35C-4275C53D173C}"/>
          </ac:spMkLst>
        </pc:spChg>
        <pc:spChg chg="mod">
          <ac:chgData name="Luciano Moreira" userId="81b8fdb4-f0e4-4457-95d0-b1edd3d5525c" providerId="ADAL" clId="{675B7749-5C25-4F76-A446-4779F4E2B149}" dt="2022-01-18T14:24:20.173" v="3572" actId="6549"/>
          <ac:spMkLst>
            <pc:docMk/>
            <pc:sldMk cId="3765687255" sldId="2134805989"/>
            <ac:spMk id="67" creationId="{D1C1BC2F-0892-457E-B2A3-FAE754558B62}"/>
          </ac:spMkLst>
        </pc:spChg>
        <pc:spChg chg="mod">
          <ac:chgData name="Luciano Moreira" userId="81b8fdb4-f0e4-4457-95d0-b1edd3d5525c" providerId="ADAL" clId="{675B7749-5C25-4F76-A446-4779F4E2B149}" dt="2022-01-18T14:26:20.933" v="3698" actId="1076"/>
          <ac:spMkLst>
            <pc:docMk/>
            <pc:sldMk cId="3765687255" sldId="2134805989"/>
            <ac:spMk id="82" creationId="{E4CF63DD-3785-4C42-85D0-E2EA9B5DF47D}"/>
          </ac:spMkLst>
        </pc:spChg>
        <pc:spChg chg="del">
          <ac:chgData name="Luciano Moreira" userId="81b8fdb4-f0e4-4457-95d0-b1edd3d5525c" providerId="ADAL" clId="{675B7749-5C25-4F76-A446-4779F4E2B149}" dt="2022-01-18T14:22:09.681" v="3552" actId="478"/>
          <ac:spMkLst>
            <pc:docMk/>
            <pc:sldMk cId="3765687255" sldId="2134805989"/>
            <ac:spMk id="126" creationId="{A2DBE953-5E4A-470D-8D48-8BD0FB1BAC29}"/>
          </ac:spMkLst>
        </pc:spChg>
        <pc:spChg chg="del">
          <ac:chgData name="Luciano Moreira" userId="81b8fdb4-f0e4-4457-95d0-b1edd3d5525c" providerId="ADAL" clId="{675B7749-5C25-4F76-A446-4779F4E2B149}" dt="2022-01-18T14:22:03.781" v="3549" actId="478"/>
          <ac:spMkLst>
            <pc:docMk/>
            <pc:sldMk cId="3765687255" sldId="2134805989"/>
            <ac:spMk id="128" creationId="{9BA3C227-E253-4ED6-A02F-C8CEE648F25A}"/>
          </ac:spMkLst>
        </pc:spChg>
        <pc:spChg chg="del mod">
          <ac:chgData name="Luciano Moreira" userId="81b8fdb4-f0e4-4457-95d0-b1edd3d5525c" providerId="ADAL" clId="{675B7749-5C25-4F76-A446-4779F4E2B149}" dt="2022-01-18T14:22:00.429" v="3545" actId="478"/>
          <ac:spMkLst>
            <pc:docMk/>
            <pc:sldMk cId="3765687255" sldId="2134805989"/>
            <ac:spMk id="130" creationId="{7C8E6D53-CA5A-4FF4-AB5E-28E8B49EF3F3}"/>
          </ac:spMkLst>
        </pc:spChg>
        <pc:spChg chg="del mod">
          <ac:chgData name="Luciano Moreira" userId="81b8fdb4-f0e4-4457-95d0-b1edd3d5525c" providerId="ADAL" clId="{675B7749-5C25-4F76-A446-4779F4E2B149}" dt="2022-01-18T14:21:58.180" v="3542" actId="478"/>
          <ac:spMkLst>
            <pc:docMk/>
            <pc:sldMk cId="3765687255" sldId="2134805989"/>
            <ac:spMk id="132" creationId="{5B4209FC-EAA7-41CA-819F-83CCF6CC472A}"/>
          </ac:spMkLst>
        </pc:spChg>
        <pc:spChg chg="del">
          <ac:chgData name="Luciano Moreira" userId="81b8fdb4-f0e4-4457-95d0-b1edd3d5525c" providerId="ADAL" clId="{675B7749-5C25-4F76-A446-4779F4E2B149}" dt="2022-01-18T14:21:56.041" v="3539" actId="478"/>
          <ac:spMkLst>
            <pc:docMk/>
            <pc:sldMk cId="3765687255" sldId="2134805989"/>
            <ac:spMk id="134" creationId="{2961C2FD-DCD5-4064-A16E-3BDE390C9D60}"/>
          </ac:spMkLst>
        </pc:spChg>
        <pc:spChg chg="del">
          <ac:chgData name="Luciano Moreira" userId="81b8fdb4-f0e4-4457-95d0-b1edd3d5525c" providerId="ADAL" clId="{675B7749-5C25-4F76-A446-4779F4E2B149}" dt="2022-01-18T14:22:20.005" v="3554" actId="478"/>
          <ac:spMkLst>
            <pc:docMk/>
            <pc:sldMk cId="3765687255" sldId="2134805989"/>
            <ac:spMk id="136" creationId="{2FB37295-3443-45DA-8928-3304B906FCE5}"/>
          </ac:spMkLst>
        </pc:spChg>
        <pc:spChg chg="del">
          <ac:chgData name="Luciano Moreira" userId="81b8fdb4-f0e4-4457-95d0-b1edd3d5525c" providerId="ADAL" clId="{675B7749-5C25-4F76-A446-4779F4E2B149}" dt="2022-01-18T14:22:20.005" v="3554" actId="478"/>
          <ac:spMkLst>
            <pc:docMk/>
            <pc:sldMk cId="3765687255" sldId="2134805989"/>
            <ac:spMk id="138" creationId="{2A6DEE09-8679-4618-A662-1D453A453295}"/>
          </ac:spMkLst>
        </pc:spChg>
        <pc:spChg chg="del">
          <ac:chgData name="Luciano Moreira" userId="81b8fdb4-f0e4-4457-95d0-b1edd3d5525c" providerId="ADAL" clId="{675B7749-5C25-4F76-A446-4779F4E2B149}" dt="2022-01-18T14:22:20.005" v="3554" actId="478"/>
          <ac:spMkLst>
            <pc:docMk/>
            <pc:sldMk cId="3765687255" sldId="2134805989"/>
            <ac:spMk id="140" creationId="{A9689E42-C304-4104-9538-88929E9591F3}"/>
          </ac:spMkLst>
        </pc:spChg>
        <pc:spChg chg="del">
          <ac:chgData name="Luciano Moreira" userId="81b8fdb4-f0e4-4457-95d0-b1edd3d5525c" providerId="ADAL" clId="{675B7749-5C25-4F76-A446-4779F4E2B149}" dt="2022-01-18T14:22:07.597" v="3551" actId="478"/>
          <ac:spMkLst>
            <pc:docMk/>
            <pc:sldMk cId="3765687255" sldId="2134805989"/>
            <ac:spMk id="142" creationId="{A5F8C61E-E0E0-4844-8214-26DA50992E98}"/>
          </ac:spMkLst>
        </pc:spChg>
        <pc:cxnChg chg="add mod">
          <ac:chgData name="Luciano Moreira" userId="81b8fdb4-f0e4-4457-95d0-b1edd3d5525c" providerId="ADAL" clId="{675B7749-5C25-4F76-A446-4779F4E2B149}" dt="2022-01-18T14:25:20.957" v="3632" actId="14100"/>
          <ac:cxnSpMkLst>
            <pc:docMk/>
            <pc:sldMk cId="3765687255" sldId="2134805989"/>
            <ac:cxnSpMk id="3" creationId="{14BA72CE-75C6-4C1C-A3FB-C6231A4F2B28}"/>
          </ac:cxnSpMkLst>
        </pc:cxnChg>
        <pc:cxnChg chg="add mod">
          <ac:chgData name="Luciano Moreira" userId="81b8fdb4-f0e4-4457-95d0-b1edd3d5525c" providerId="ADAL" clId="{675B7749-5C25-4F76-A446-4779F4E2B149}" dt="2022-01-18T14:25:17.710" v="3631" actId="14100"/>
          <ac:cxnSpMkLst>
            <pc:docMk/>
            <pc:sldMk cId="3765687255" sldId="2134805989"/>
            <ac:cxnSpMk id="5" creationId="{87CB004C-60B9-4099-8C4A-653646126216}"/>
          </ac:cxnSpMkLst>
        </pc:cxnChg>
        <pc:cxnChg chg="mod">
          <ac:chgData name="Luciano Moreira" userId="81b8fdb4-f0e4-4457-95d0-b1edd3d5525c" providerId="ADAL" clId="{675B7749-5C25-4F76-A446-4779F4E2B149}" dt="2022-01-18T14:24:59.492" v="3624" actId="1076"/>
          <ac:cxnSpMkLst>
            <pc:docMk/>
            <pc:sldMk cId="3765687255" sldId="2134805989"/>
            <ac:cxnSpMk id="74" creationId="{E4D7171D-8D77-4831-AB91-833B1E4F0AB9}"/>
          </ac:cxnSpMkLst>
        </pc:cxnChg>
        <pc:cxnChg chg="del">
          <ac:chgData name="Luciano Moreira" userId="81b8fdb4-f0e4-4457-95d0-b1edd3d5525c" providerId="ADAL" clId="{675B7749-5C25-4F76-A446-4779F4E2B149}" dt="2022-01-18T14:21:50.237" v="3538" actId="478"/>
          <ac:cxnSpMkLst>
            <pc:docMk/>
            <pc:sldMk cId="3765687255" sldId="2134805989"/>
            <ac:cxnSpMk id="88" creationId="{87853C80-601C-4B4D-B794-CD787D93A0F3}"/>
          </ac:cxnSpMkLst>
        </pc:cxnChg>
        <pc:cxnChg chg="del">
          <ac:chgData name="Luciano Moreira" userId="81b8fdb4-f0e4-4457-95d0-b1edd3d5525c" providerId="ADAL" clId="{675B7749-5C25-4F76-A446-4779F4E2B149}" dt="2022-01-18T14:22:20.005" v="3554" actId="478"/>
          <ac:cxnSpMkLst>
            <pc:docMk/>
            <pc:sldMk cId="3765687255" sldId="2134805989"/>
            <ac:cxnSpMk id="91" creationId="{D6A97BC3-E873-43CE-A820-9ECB7AAEC5EA}"/>
          </ac:cxnSpMkLst>
        </pc:cxnChg>
        <pc:cxnChg chg="del">
          <ac:chgData name="Luciano Moreira" userId="81b8fdb4-f0e4-4457-95d0-b1edd3d5525c" providerId="ADAL" clId="{675B7749-5C25-4F76-A446-4779F4E2B149}" dt="2022-01-18T14:22:20.005" v="3554" actId="478"/>
          <ac:cxnSpMkLst>
            <pc:docMk/>
            <pc:sldMk cId="3765687255" sldId="2134805989"/>
            <ac:cxnSpMk id="93" creationId="{9572DAFB-CEA3-4FCC-866D-45E8ADC8441C}"/>
          </ac:cxnSpMkLst>
        </pc:cxnChg>
        <pc:cxnChg chg="del">
          <ac:chgData name="Luciano Moreira" userId="81b8fdb4-f0e4-4457-95d0-b1edd3d5525c" providerId="ADAL" clId="{675B7749-5C25-4F76-A446-4779F4E2B149}" dt="2022-01-18T14:22:02.651" v="3548" actId="478"/>
          <ac:cxnSpMkLst>
            <pc:docMk/>
            <pc:sldMk cId="3765687255" sldId="2134805989"/>
            <ac:cxnSpMk id="95" creationId="{D21CEF0F-9AEA-41E8-B292-9DEFF7D74109}"/>
          </ac:cxnSpMkLst>
        </pc:cxnChg>
        <pc:cxnChg chg="del">
          <ac:chgData name="Luciano Moreira" userId="81b8fdb4-f0e4-4457-95d0-b1edd3d5525c" providerId="ADAL" clId="{675B7749-5C25-4F76-A446-4779F4E2B149}" dt="2022-01-18T14:22:01.031" v="3546" actId="478"/>
          <ac:cxnSpMkLst>
            <pc:docMk/>
            <pc:sldMk cId="3765687255" sldId="2134805989"/>
            <ac:cxnSpMk id="98" creationId="{14FA0294-3F0B-425E-8C82-03B3DB64834F}"/>
          </ac:cxnSpMkLst>
        </pc:cxnChg>
        <pc:cxnChg chg="del">
          <ac:chgData name="Luciano Moreira" userId="81b8fdb4-f0e4-4457-95d0-b1edd3d5525c" providerId="ADAL" clId="{675B7749-5C25-4F76-A446-4779F4E2B149}" dt="2022-01-18T14:21:58.816" v="3543" actId="478"/>
          <ac:cxnSpMkLst>
            <pc:docMk/>
            <pc:sldMk cId="3765687255" sldId="2134805989"/>
            <ac:cxnSpMk id="102" creationId="{ACE847CF-4677-47DF-85A2-ACD9EF5CDB1B}"/>
          </ac:cxnSpMkLst>
        </pc:cxnChg>
        <pc:cxnChg chg="del">
          <ac:chgData name="Luciano Moreira" userId="81b8fdb4-f0e4-4457-95d0-b1edd3d5525c" providerId="ADAL" clId="{675B7749-5C25-4F76-A446-4779F4E2B149}" dt="2022-01-18T14:21:56.726" v="3540" actId="478"/>
          <ac:cxnSpMkLst>
            <pc:docMk/>
            <pc:sldMk cId="3765687255" sldId="2134805989"/>
            <ac:cxnSpMk id="108" creationId="{1A79707B-6973-4CDA-BDB9-25C7C853F185}"/>
          </ac:cxnSpMkLst>
        </pc:cxnChg>
        <pc:cxnChg chg="del">
          <ac:chgData name="Luciano Moreira" userId="81b8fdb4-f0e4-4457-95d0-b1edd3d5525c" providerId="ADAL" clId="{675B7749-5C25-4F76-A446-4779F4E2B149}" dt="2022-01-18T14:22:05.447" v="3550" actId="478"/>
          <ac:cxnSpMkLst>
            <pc:docMk/>
            <pc:sldMk cId="3765687255" sldId="2134805989"/>
            <ac:cxnSpMk id="112" creationId="{ABAECF21-7600-48F2-84D9-850C616B2157}"/>
          </ac:cxnSpMkLst>
        </pc:cxnChg>
        <pc:cxnChg chg="del">
          <ac:chgData name="Luciano Moreira" userId="81b8fdb4-f0e4-4457-95d0-b1edd3d5525c" providerId="ADAL" clId="{675B7749-5C25-4F76-A446-4779F4E2B149}" dt="2022-01-18T14:22:20.005" v="3554" actId="478"/>
          <ac:cxnSpMkLst>
            <pc:docMk/>
            <pc:sldMk cId="3765687255" sldId="2134805989"/>
            <ac:cxnSpMk id="118" creationId="{C1136473-BBF5-4D32-8D10-8E4C2D1DD963}"/>
          </ac:cxnSpMkLst>
        </pc:cxnChg>
        <pc:cxnChg chg="del">
          <ac:chgData name="Luciano Moreira" userId="81b8fdb4-f0e4-4457-95d0-b1edd3d5525c" providerId="ADAL" clId="{675B7749-5C25-4F76-A446-4779F4E2B149}" dt="2022-01-18T14:22:01.959" v="3547" actId="478"/>
          <ac:cxnSpMkLst>
            <pc:docMk/>
            <pc:sldMk cId="3765687255" sldId="2134805989"/>
            <ac:cxnSpMk id="119" creationId="{77B0F861-DB60-45B7-8FD6-97CC26165ECC}"/>
          </ac:cxnSpMkLst>
        </pc:cxnChg>
      </pc:sldChg>
      <pc:sldChg chg="addSp delSp modSp add mod modAnim modNotesTx">
        <pc:chgData name="Luciano Moreira" userId="81b8fdb4-f0e4-4457-95d0-b1edd3d5525c" providerId="ADAL" clId="{675B7749-5C25-4F76-A446-4779F4E2B149}" dt="2022-01-18T14:46:38.997" v="4066" actId="1076"/>
        <pc:sldMkLst>
          <pc:docMk/>
          <pc:sldMk cId="1856993424" sldId="2134805990"/>
        </pc:sldMkLst>
        <pc:spChg chg="add mod">
          <ac:chgData name="Luciano Moreira" userId="81b8fdb4-f0e4-4457-95d0-b1edd3d5525c" providerId="ADAL" clId="{675B7749-5C25-4F76-A446-4779F4E2B149}" dt="2022-01-18T14:41:08.286" v="3974" actId="1035"/>
          <ac:spMkLst>
            <pc:docMk/>
            <pc:sldMk cId="1856993424" sldId="2134805990"/>
            <ac:spMk id="2" creationId="{29BB61CC-249C-4CBD-AAFC-29D5C4BFAC3C}"/>
          </ac:spMkLst>
        </pc:spChg>
        <pc:spChg chg="add mod">
          <ac:chgData name="Luciano Moreira" userId="81b8fdb4-f0e4-4457-95d0-b1edd3d5525c" providerId="ADAL" clId="{675B7749-5C25-4F76-A446-4779F4E2B149}" dt="2022-01-18T14:41:01.271" v="3962" actId="1035"/>
          <ac:spMkLst>
            <pc:docMk/>
            <pc:sldMk cId="1856993424" sldId="2134805990"/>
            <ac:spMk id="6" creationId="{ACA25AA9-CF86-4DED-B018-B9439F7AD5B7}"/>
          </ac:spMkLst>
        </pc:spChg>
        <pc:spChg chg="add mod">
          <ac:chgData name="Luciano Moreira" userId="81b8fdb4-f0e4-4457-95d0-b1edd3d5525c" providerId="ADAL" clId="{675B7749-5C25-4F76-A446-4779F4E2B149}" dt="2022-01-18T14:41:01.271" v="3962" actId="1035"/>
          <ac:spMkLst>
            <pc:docMk/>
            <pc:sldMk cId="1856993424" sldId="2134805990"/>
            <ac:spMk id="12" creationId="{F6565437-97EE-40F1-996B-910F3E772763}"/>
          </ac:spMkLst>
        </pc:spChg>
        <pc:spChg chg="add mod">
          <ac:chgData name="Luciano Moreira" userId="81b8fdb4-f0e4-4457-95d0-b1edd3d5525c" providerId="ADAL" clId="{675B7749-5C25-4F76-A446-4779F4E2B149}" dt="2022-01-18T14:41:08.286" v="3974" actId="1035"/>
          <ac:spMkLst>
            <pc:docMk/>
            <pc:sldMk cId="1856993424" sldId="2134805990"/>
            <ac:spMk id="15" creationId="{3C1AD424-8686-4245-8F87-7C7C6FEA864C}"/>
          </ac:spMkLst>
        </pc:spChg>
        <pc:spChg chg="mod">
          <ac:chgData name="Luciano Moreira" userId="81b8fdb4-f0e4-4457-95d0-b1edd3d5525c" providerId="ADAL" clId="{675B7749-5C25-4F76-A446-4779F4E2B149}" dt="2022-01-18T14:38:54.446" v="3867" actId="1076"/>
          <ac:spMkLst>
            <pc:docMk/>
            <pc:sldMk cId="1856993424" sldId="2134805990"/>
            <ac:spMk id="19" creationId="{FF6FA096-2E87-414F-BE78-401861A57550}"/>
          </ac:spMkLst>
        </pc:spChg>
        <pc:spChg chg="add mod">
          <ac:chgData name="Luciano Moreira" userId="81b8fdb4-f0e4-4457-95d0-b1edd3d5525c" providerId="ADAL" clId="{675B7749-5C25-4F76-A446-4779F4E2B149}" dt="2022-01-18T14:41:08.286" v="3974" actId="1035"/>
          <ac:spMkLst>
            <pc:docMk/>
            <pc:sldMk cId="1856993424" sldId="2134805990"/>
            <ac:spMk id="25" creationId="{91E96447-80DC-473A-9616-B51F125BC092}"/>
          </ac:spMkLst>
        </pc:spChg>
        <pc:spChg chg="mod">
          <ac:chgData name="Luciano Moreira" userId="81b8fdb4-f0e4-4457-95d0-b1edd3d5525c" providerId="ADAL" clId="{675B7749-5C25-4F76-A446-4779F4E2B149}" dt="2022-01-18T14:31:51.376" v="3745" actId="1076"/>
          <ac:spMkLst>
            <pc:docMk/>
            <pc:sldMk cId="1856993424" sldId="2134805990"/>
            <ac:spMk id="26" creationId="{273290DA-309D-4C0A-B968-000840071FFC}"/>
          </ac:spMkLst>
        </pc:spChg>
        <pc:spChg chg="mod">
          <ac:chgData name="Luciano Moreira" userId="81b8fdb4-f0e4-4457-95d0-b1edd3d5525c" providerId="ADAL" clId="{675B7749-5C25-4F76-A446-4779F4E2B149}" dt="2022-01-18T14:31:51.376" v="3745" actId="1076"/>
          <ac:spMkLst>
            <pc:docMk/>
            <pc:sldMk cId="1856993424" sldId="2134805990"/>
            <ac:spMk id="28" creationId="{4A1F37AA-7639-4175-9F96-ED013B084D5D}"/>
          </ac:spMkLst>
        </pc:spChg>
        <pc:spChg chg="mod">
          <ac:chgData name="Luciano Moreira" userId="81b8fdb4-f0e4-4457-95d0-b1edd3d5525c" providerId="ADAL" clId="{675B7749-5C25-4F76-A446-4779F4E2B149}" dt="2022-01-18T14:31:51.376" v="3745" actId="1076"/>
          <ac:spMkLst>
            <pc:docMk/>
            <pc:sldMk cId="1856993424" sldId="2134805990"/>
            <ac:spMk id="29" creationId="{B3911A2B-9095-4180-91D8-A0FA01EF8B4F}"/>
          </ac:spMkLst>
        </pc:spChg>
        <pc:spChg chg="mod">
          <ac:chgData name="Luciano Moreira" userId="81b8fdb4-f0e4-4457-95d0-b1edd3d5525c" providerId="ADAL" clId="{675B7749-5C25-4F76-A446-4779F4E2B149}" dt="2022-01-18T14:31:51.376" v="3745" actId="1076"/>
          <ac:spMkLst>
            <pc:docMk/>
            <pc:sldMk cId="1856993424" sldId="2134805990"/>
            <ac:spMk id="32" creationId="{2BD0A379-6FA4-44B4-8CBD-7AE98FE78F43}"/>
          </ac:spMkLst>
        </pc:spChg>
        <pc:spChg chg="add del mod">
          <ac:chgData name="Luciano Moreira" userId="81b8fdb4-f0e4-4457-95d0-b1edd3d5525c" providerId="ADAL" clId="{675B7749-5C25-4F76-A446-4779F4E2B149}" dt="2022-01-18T14:40:42.846" v="3939" actId="478"/>
          <ac:spMkLst>
            <pc:docMk/>
            <pc:sldMk cId="1856993424" sldId="2134805990"/>
            <ac:spMk id="36" creationId="{134CBD67-CA2E-45F2-93F3-AD32F229C2C4}"/>
          </ac:spMkLst>
        </pc:spChg>
        <pc:spChg chg="add mod">
          <ac:chgData name="Luciano Moreira" userId="81b8fdb4-f0e4-4457-95d0-b1edd3d5525c" providerId="ADAL" clId="{675B7749-5C25-4F76-A446-4779F4E2B149}" dt="2022-01-18T14:41:08.286" v="3974" actId="1035"/>
          <ac:spMkLst>
            <pc:docMk/>
            <pc:sldMk cId="1856993424" sldId="2134805990"/>
            <ac:spMk id="42" creationId="{1B254BD7-0C57-486D-A1D8-8AA74A191F0C}"/>
          </ac:spMkLst>
        </pc:spChg>
        <pc:spChg chg="mod">
          <ac:chgData name="Luciano Moreira" userId="81b8fdb4-f0e4-4457-95d0-b1edd3d5525c" providerId="ADAL" clId="{675B7749-5C25-4F76-A446-4779F4E2B149}" dt="2022-01-18T14:31:51.376" v="3745" actId="1076"/>
          <ac:spMkLst>
            <pc:docMk/>
            <pc:sldMk cId="1856993424" sldId="2134805990"/>
            <ac:spMk id="43" creationId="{C297AFA7-93BF-4967-BDB2-DD33905427A6}"/>
          </ac:spMkLst>
        </pc:spChg>
        <pc:spChg chg="add mod">
          <ac:chgData name="Luciano Moreira" userId="81b8fdb4-f0e4-4457-95d0-b1edd3d5525c" providerId="ADAL" clId="{675B7749-5C25-4F76-A446-4779F4E2B149}" dt="2022-01-18T14:41:08.286" v="3974" actId="1035"/>
          <ac:spMkLst>
            <pc:docMk/>
            <pc:sldMk cId="1856993424" sldId="2134805990"/>
            <ac:spMk id="54" creationId="{E025850A-E9F0-4C28-900A-62CCE2E9063B}"/>
          </ac:spMkLst>
        </pc:spChg>
        <pc:spChg chg="mod">
          <ac:chgData name="Luciano Moreira" userId="81b8fdb4-f0e4-4457-95d0-b1edd3d5525c" providerId="ADAL" clId="{675B7749-5C25-4F76-A446-4779F4E2B149}" dt="2022-01-18T14:31:51.376" v="3745" actId="1076"/>
          <ac:spMkLst>
            <pc:docMk/>
            <pc:sldMk cId="1856993424" sldId="2134805990"/>
            <ac:spMk id="57" creationId="{1C6AF795-0B4D-4070-86F0-A3785AB24106}"/>
          </ac:spMkLst>
        </pc:spChg>
        <pc:spChg chg="mod">
          <ac:chgData name="Luciano Moreira" userId="81b8fdb4-f0e4-4457-95d0-b1edd3d5525c" providerId="ADAL" clId="{675B7749-5C25-4F76-A446-4779F4E2B149}" dt="2022-01-18T14:31:51.376" v="3745" actId="1076"/>
          <ac:spMkLst>
            <pc:docMk/>
            <pc:sldMk cId="1856993424" sldId="2134805990"/>
            <ac:spMk id="59" creationId="{21E40231-F3C0-447A-AFC0-623056652003}"/>
          </ac:spMkLst>
        </pc:spChg>
        <pc:spChg chg="mod">
          <ac:chgData name="Luciano Moreira" userId="81b8fdb4-f0e4-4457-95d0-b1edd3d5525c" providerId="ADAL" clId="{675B7749-5C25-4F76-A446-4779F4E2B149}" dt="2022-01-18T14:31:51.376" v="3745" actId="1076"/>
          <ac:spMkLst>
            <pc:docMk/>
            <pc:sldMk cId="1856993424" sldId="2134805990"/>
            <ac:spMk id="61" creationId="{02495E9B-0117-4D57-B8DA-AAF348677163}"/>
          </ac:spMkLst>
        </pc:spChg>
        <pc:spChg chg="del">
          <ac:chgData name="Luciano Moreira" userId="81b8fdb4-f0e4-4457-95d0-b1edd3d5525c" providerId="ADAL" clId="{675B7749-5C25-4F76-A446-4779F4E2B149}" dt="2022-01-18T14:31:43.674" v="3744" actId="478"/>
          <ac:spMkLst>
            <pc:docMk/>
            <pc:sldMk cId="1856993424" sldId="2134805990"/>
            <ac:spMk id="64" creationId="{EEBA5BCD-4BCC-4615-A7F1-B9885BC31449}"/>
          </ac:spMkLst>
        </pc:spChg>
        <pc:spChg chg="mod">
          <ac:chgData name="Luciano Moreira" userId="81b8fdb4-f0e4-4457-95d0-b1edd3d5525c" providerId="ADAL" clId="{675B7749-5C25-4F76-A446-4779F4E2B149}" dt="2022-01-18T14:39:02.462" v="3870" actId="1076"/>
          <ac:spMkLst>
            <pc:docMk/>
            <pc:sldMk cId="1856993424" sldId="2134805990"/>
            <ac:spMk id="67" creationId="{D1C1BC2F-0892-457E-B2A3-FAE754558B62}"/>
          </ac:spMkLst>
        </pc:spChg>
        <pc:spChg chg="add mod">
          <ac:chgData name="Luciano Moreira" userId="81b8fdb4-f0e4-4457-95d0-b1edd3d5525c" providerId="ADAL" clId="{675B7749-5C25-4F76-A446-4779F4E2B149}" dt="2022-01-18T14:46:38.997" v="4066" actId="1076"/>
          <ac:spMkLst>
            <pc:docMk/>
            <pc:sldMk cId="1856993424" sldId="2134805990"/>
            <ac:spMk id="72" creationId="{EF366C14-447C-43E1-9373-5F049788DA25}"/>
          </ac:spMkLst>
        </pc:spChg>
        <pc:spChg chg="add mod">
          <ac:chgData name="Luciano Moreira" userId="81b8fdb4-f0e4-4457-95d0-b1edd3d5525c" providerId="ADAL" clId="{675B7749-5C25-4F76-A446-4779F4E2B149}" dt="2022-01-18T14:44:04.074" v="4050" actId="1076"/>
          <ac:spMkLst>
            <pc:docMk/>
            <pc:sldMk cId="1856993424" sldId="2134805990"/>
            <ac:spMk id="78" creationId="{6BDAEEC1-215F-498C-B3E9-C45E2B1672E6}"/>
          </ac:spMkLst>
        </pc:spChg>
        <pc:spChg chg="add del">
          <ac:chgData name="Luciano Moreira" userId="81b8fdb4-f0e4-4457-95d0-b1edd3d5525c" providerId="ADAL" clId="{675B7749-5C25-4F76-A446-4779F4E2B149}" dt="2022-01-18T14:46:06.922" v="4052" actId="22"/>
          <ac:spMkLst>
            <pc:docMk/>
            <pc:sldMk cId="1856993424" sldId="2134805990"/>
            <ac:spMk id="79" creationId="{A10469F0-642D-4E81-ACB0-38A1A81DEF3B}"/>
          </ac:spMkLst>
        </pc:spChg>
        <pc:spChg chg="del mod">
          <ac:chgData name="Luciano Moreira" userId="81b8fdb4-f0e4-4457-95d0-b1edd3d5525c" providerId="ADAL" clId="{675B7749-5C25-4F76-A446-4779F4E2B149}" dt="2022-01-18T14:31:54.056" v="3746" actId="478"/>
          <ac:spMkLst>
            <pc:docMk/>
            <pc:sldMk cId="1856993424" sldId="2134805990"/>
            <ac:spMk id="82" creationId="{E4CF63DD-3785-4C42-85D0-E2EA9B5DF47D}"/>
          </ac:spMkLst>
        </pc:spChg>
        <pc:cxnChg chg="mod">
          <ac:chgData name="Luciano Moreira" userId="81b8fdb4-f0e4-4457-95d0-b1edd3d5525c" providerId="ADAL" clId="{675B7749-5C25-4F76-A446-4779F4E2B149}" dt="2022-01-18T14:41:08.286" v="3974" actId="1035"/>
          <ac:cxnSpMkLst>
            <pc:docMk/>
            <pc:sldMk cId="1856993424" sldId="2134805990"/>
            <ac:cxnSpMk id="3" creationId="{14BA72CE-75C6-4C1C-A3FB-C6231A4F2B28}"/>
          </ac:cxnSpMkLst>
        </pc:cxnChg>
        <pc:cxnChg chg="add mod">
          <ac:chgData name="Luciano Moreira" userId="81b8fdb4-f0e4-4457-95d0-b1edd3d5525c" providerId="ADAL" clId="{675B7749-5C25-4F76-A446-4779F4E2B149}" dt="2022-01-18T14:41:01.271" v="3962" actId="1035"/>
          <ac:cxnSpMkLst>
            <pc:docMk/>
            <pc:sldMk cId="1856993424" sldId="2134805990"/>
            <ac:cxnSpMk id="4" creationId="{3B94B63E-01AF-4BC6-B580-C6C31D66C26E}"/>
          </ac:cxnSpMkLst>
        </pc:cxnChg>
        <pc:cxnChg chg="mod">
          <ac:chgData name="Luciano Moreira" userId="81b8fdb4-f0e4-4457-95d0-b1edd3d5525c" providerId="ADAL" clId="{675B7749-5C25-4F76-A446-4779F4E2B149}" dt="2022-01-18T14:41:08.286" v="3974" actId="1035"/>
          <ac:cxnSpMkLst>
            <pc:docMk/>
            <pc:sldMk cId="1856993424" sldId="2134805990"/>
            <ac:cxnSpMk id="5" creationId="{87CB004C-60B9-4099-8C4A-653646126216}"/>
          </ac:cxnSpMkLst>
        </pc:cxnChg>
        <pc:cxnChg chg="add mod">
          <ac:chgData name="Luciano Moreira" userId="81b8fdb4-f0e4-4457-95d0-b1edd3d5525c" providerId="ADAL" clId="{675B7749-5C25-4F76-A446-4779F4E2B149}" dt="2022-01-18T14:42:54.601" v="3987" actId="1035"/>
          <ac:cxnSpMkLst>
            <pc:docMk/>
            <pc:sldMk cId="1856993424" sldId="2134805990"/>
            <ac:cxnSpMk id="10" creationId="{7F9FF76A-C4C2-44BC-BF8D-706C7949CB3E}"/>
          </ac:cxnSpMkLst>
        </pc:cxnChg>
        <pc:cxnChg chg="add mod">
          <ac:chgData name="Luciano Moreira" userId="81b8fdb4-f0e4-4457-95d0-b1edd3d5525c" providerId="ADAL" clId="{675B7749-5C25-4F76-A446-4779F4E2B149}" dt="2022-01-18T14:41:01.271" v="3962" actId="1035"/>
          <ac:cxnSpMkLst>
            <pc:docMk/>
            <pc:sldMk cId="1856993424" sldId="2134805990"/>
            <ac:cxnSpMk id="11" creationId="{C6464B51-237C-4175-9899-ED3A08C85E14}"/>
          </ac:cxnSpMkLst>
        </pc:cxnChg>
        <pc:cxnChg chg="add mod">
          <ac:chgData name="Luciano Moreira" userId="81b8fdb4-f0e4-4457-95d0-b1edd3d5525c" providerId="ADAL" clId="{675B7749-5C25-4F76-A446-4779F4E2B149}" dt="2022-01-18T14:41:08.286" v="3974" actId="1035"/>
          <ac:cxnSpMkLst>
            <pc:docMk/>
            <pc:sldMk cId="1856993424" sldId="2134805990"/>
            <ac:cxnSpMk id="13" creationId="{E907669D-C90D-4C1F-80D1-18C2E8BE4A5B}"/>
          </ac:cxnSpMkLst>
        </pc:cxnChg>
        <pc:cxnChg chg="add mod">
          <ac:chgData name="Luciano Moreira" userId="81b8fdb4-f0e4-4457-95d0-b1edd3d5525c" providerId="ADAL" clId="{675B7749-5C25-4F76-A446-4779F4E2B149}" dt="2022-01-18T14:41:08.286" v="3974" actId="1035"/>
          <ac:cxnSpMkLst>
            <pc:docMk/>
            <pc:sldMk cId="1856993424" sldId="2134805990"/>
            <ac:cxnSpMk id="14" creationId="{FB0482C0-0D58-40C0-9282-35C69E3CADE3}"/>
          </ac:cxnSpMkLst>
        </pc:cxnChg>
        <pc:cxnChg chg="add mod">
          <ac:chgData name="Luciano Moreira" userId="81b8fdb4-f0e4-4457-95d0-b1edd3d5525c" providerId="ADAL" clId="{675B7749-5C25-4F76-A446-4779F4E2B149}" dt="2022-01-18T14:41:08.286" v="3974" actId="1035"/>
          <ac:cxnSpMkLst>
            <pc:docMk/>
            <pc:sldMk cId="1856993424" sldId="2134805990"/>
            <ac:cxnSpMk id="16" creationId="{0DE527A2-B4D1-4885-9F7B-90F9C508B28B}"/>
          </ac:cxnSpMkLst>
        </pc:cxnChg>
        <pc:cxnChg chg="add mod">
          <ac:chgData name="Luciano Moreira" userId="81b8fdb4-f0e4-4457-95d0-b1edd3d5525c" providerId="ADAL" clId="{675B7749-5C25-4F76-A446-4779F4E2B149}" dt="2022-01-18T14:41:08.286" v="3974" actId="1035"/>
          <ac:cxnSpMkLst>
            <pc:docMk/>
            <pc:sldMk cId="1856993424" sldId="2134805990"/>
            <ac:cxnSpMk id="17" creationId="{6C11F8B9-5F80-4D10-95BC-7B310989F20C}"/>
          </ac:cxnSpMkLst>
        </pc:cxnChg>
        <pc:cxnChg chg="add mod">
          <ac:chgData name="Luciano Moreira" userId="81b8fdb4-f0e4-4457-95d0-b1edd3d5525c" providerId="ADAL" clId="{675B7749-5C25-4F76-A446-4779F4E2B149}" dt="2022-01-18T14:41:08.286" v="3974" actId="1035"/>
          <ac:cxnSpMkLst>
            <pc:docMk/>
            <pc:sldMk cId="1856993424" sldId="2134805990"/>
            <ac:cxnSpMk id="20" creationId="{CE2413F3-8492-4A72-BF85-2DA40249ED82}"/>
          </ac:cxnSpMkLst>
        </pc:cxnChg>
        <pc:cxnChg chg="add mod">
          <ac:chgData name="Luciano Moreira" userId="81b8fdb4-f0e4-4457-95d0-b1edd3d5525c" providerId="ADAL" clId="{675B7749-5C25-4F76-A446-4779F4E2B149}" dt="2022-01-18T14:41:08.286" v="3974" actId="1035"/>
          <ac:cxnSpMkLst>
            <pc:docMk/>
            <pc:sldMk cId="1856993424" sldId="2134805990"/>
            <ac:cxnSpMk id="23" creationId="{F5080BF3-48D4-4795-B40B-8E8292C7A68E}"/>
          </ac:cxnSpMkLst>
        </pc:cxnChg>
        <pc:cxnChg chg="add mod">
          <ac:chgData name="Luciano Moreira" userId="81b8fdb4-f0e4-4457-95d0-b1edd3d5525c" providerId="ADAL" clId="{675B7749-5C25-4F76-A446-4779F4E2B149}" dt="2022-01-18T14:41:01.271" v="3962" actId="1035"/>
          <ac:cxnSpMkLst>
            <pc:docMk/>
            <pc:sldMk cId="1856993424" sldId="2134805990"/>
            <ac:cxnSpMk id="31" creationId="{17308E3C-090E-4F19-A4B8-B4426905C9BA}"/>
          </ac:cxnSpMkLst>
        </pc:cxnChg>
        <pc:cxnChg chg="add mod">
          <ac:chgData name="Luciano Moreira" userId="81b8fdb4-f0e4-4457-95d0-b1edd3d5525c" providerId="ADAL" clId="{675B7749-5C25-4F76-A446-4779F4E2B149}" dt="2022-01-18T14:41:01.271" v="3962" actId="1035"/>
          <ac:cxnSpMkLst>
            <pc:docMk/>
            <pc:sldMk cId="1856993424" sldId="2134805990"/>
            <ac:cxnSpMk id="34" creationId="{960A43DD-D591-460D-BE78-246F848E685F}"/>
          </ac:cxnSpMkLst>
        </pc:cxnChg>
        <pc:cxnChg chg="add mod">
          <ac:chgData name="Luciano Moreira" userId="81b8fdb4-f0e4-4457-95d0-b1edd3d5525c" providerId="ADAL" clId="{675B7749-5C25-4F76-A446-4779F4E2B149}" dt="2022-01-18T14:41:08.286" v="3974" actId="1035"/>
          <ac:cxnSpMkLst>
            <pc:docMk/>
            <pc:sldMk cId="1856993424" sldId="2134805990"/>
            <ac:cxnSpMk id="38" creationId="{44ECFC23-DB0F-4B28-8176-8570F973EEE6}"/>
          </ac:cxnSpMkLst>
        </pc:cxnChg>
        <pc:cxnChg chg="add mod">
          <ac:chgData name="Luciano Moreira" userId="81b8fdb4-f0e4-4457-95d0-b1edd3d5525c" providerId="ADAL" clId="{675B7749-5C25-4F76-A446-4779F4E2B149}" dt="2022-01-18T14:41:08.286" v="3974" actId="1035"/>
          <ac:cxnSpMkLst>
            <pc:docMk/>
            <pc:sldMk cId="1856993424" sldId="2134805990"/>
            <ac:cxnSpMk id="40" creationId="{DADE5F50-F28A-4CA1-8D13-3284242D06B2}"/>
          </ac:cxnSpMkLst>
        </pc:cxnChg>
        <pc:cxnChg chg="add mod">
          <ac:chgData name="Luciano Moreira" userId="81b8fdb4-f0e4-4457-95d0-b1edd3d5525c" providerId="ADAL" clId="{675B7749-5C25-4F76-A446-4779F4E2B149}" dt="2022-01-18T14:41:08.286" v="3974" actId="1035"/>
          <ac:cxnSpMkLst>
            <pc:docMk/>
            <pc:sldMk cId="1856993424" sldId="2134805990"/>
            <ac:cxnSpMk id="46" creationId="{FF078503-DC0F-4CAE-AA82-A6090A13778E}"/>
          </ac:cxnSpMkLst>
        </pc:cxnChg>
        <pc:cxnChg chg="add mod">
          <ac:chgData name="Luciano Moreira" userId="81b8fdb4-f0e4-4457-95d0-b1edd3d5525c" providerId="ADAL" clId="{675B7749-5C25-4F76-A446-4779F4E2B149}" dt="2022-01-18T14:41:08.286" v="3974" actId="1035"/>
          <ac:cxnSpMkLst>
            <pc:docMk/>
            <pc:sldMk cId="1856993424" sldId="2134805990"/>
            <ac:cxnSpMk id="48" creationId="{BC091094-131A-4A22-BBC0-EEDA9E53ED99}"/>
          </ac:cxnSpMkLst>
        </pc:cxnChg>
        <pc:cxnChg chg="add mod">
          <ac:chgData name="Luciano Moreira" userId="81b8fdb4-f0e4-4457-95d0-b1edd3d5525c" providerId="ADAL" clId="{675B7749-5C25-4F76-A446-4779F4E2B149}" dt="2022-01-18T14:41:08.286" v="3974" actId="1035"/>
          <ac:cxnSpMkLst>
            <pc:docMk/>
            <pc:sldMk cId="1856993424" sldId="2134805990"/>
            <ac:cxnSpMk id="50" creationId="{69575785-9C9F-43FE-9714-E6038CEEAD0F}"/>
          </ac:cxnSpMkLst>
        </pc:cxnChg>
        <pc:cxnChg chg="add del mod">
          <ac:chgData name="Luciano Moreira" userId="81b8fdb4-f0e4-4457-95d0-b1edd3d5525c" providerId="ADAL" clId="{675B7749-5C25-4F76-A446-4779F4E2B149}" dt="2022-01-18T14:41:08.286" v="3974" actId="1035"/>
          <ac:cxnSpMkLst>
            <pc:docMk/>
            <pc:sldMk cId="1856993424" sldId="2134805990"/>
            <ac:cxnSpMk id="52" creationId="{ADEEC8A8-422F-4718-9EB5-B2658E942D54}"/>
          </ac:cxnSpMkLst>
        </pc:cxnChg>
        <pc:cxnChg chg="mod">
          <ac:chgData name="Luciano Moreira" userId="81b8fdb4-f0e4-4457-95d0-b1edd3d5525c" providerId="ADAL" clId="{675B7749-5C25-4F76-A446-4779F4E2B149}" dt="2022-01-18T14:41:01.271" v="3962" actId="1035"/>
          <ac:cxnSpMkLst>
            <pc:docMk/>
            <pc:sldMk cId="1856993424" sldId="2134805990"/>
            <ac:cxnSpMk id="69" creationId="{2C399A27-654B-408A-8801-5B52B70952B5}"/>
          </ac:cxnSpMkLst>
        </pc:cxnChg>
        <pc:cxnChg chg="del">
          <ac:chgData name="Luciano Moreira" userId="81b8fdb4-f0e4-4457-95d0-b1edd3d5525c" providerId="ADAL" clId="{675B7749-5C25-4F76-A446-4779F4E2B149}" dt="2022-01-18T14:31:42.081" v="3742" actId="478"/>
          <ac:cxnSpMkLst>
            <pc:docMk/>
            <pc:sldMk cId="1856993424" sldId="2134805990"/>
            <ac:cxnSpMk id="74" creationId="{E4D7171D-8D77-4831-AB91-833B1E4F0AB9}"/>
          </ac:cxnSpMkLst>
        </pc:cxnChg>
        <pc:cxnChg chg="del">
          <ac:chgData name="Luciano Moreira" userId="81b8fdb4-f0e4-4457-95d0-b1edd3d5525c" providerId="ADAL" clId="{675B7749-5C25-4F76-A446-4779F4E2B149}" dt="2022-01-18T14:31:42.843" v="3743" actId="478"/>
          <ac:cxnSpMkLst>
            <pc:docMk/>
            <pc:sldMk cId="1856993424" sldId="2134805990"/>
            <ac:cxnSpMk id="77" creationId="{96CC1A42-81F1-4739-82A8-AF0EDCF0DABE}"/>
          </ac:cxnSpMkLst>
        </pc:cxnChg>
        <pc:cxnChg chg="del mod">
          <ac:chgData name="Luciano Moreira" userId="81b8fdb4-f0e4-4457-95d0-b1edd3d5525c" providerId="ADAL" clId="{675B7749-5C25-4F76-A446-4779F4E2B149}" dt="2022-01-18T14:35:33.904" v="3749" actId="478"/>
          <ac:cxnSpMkLst>
            <pc:docMk/>
            <pc:sldMk cId="1856993424" sldId="2134805990"/>
            <ac:cxnSpMk id="84" creationId="{FD23EC15-3B8E-4430-9AD7-22547557E748}"/>
          </ac:cxnSpMkLst>
        </pc:cxnChg>
      </pc:sldChg>
      <pc:sldChg chg="addSp delSp modSp add mod modShow">
        <pc:chgData name="Luciano Moreira" userId="81b8fdb4-f0e4-4457-95d0-b1edd3d5525c" providerId="ADAL" clId="{675B7749-5C25-4F76-A446-4779F4E2B149}" dt="2022-01-28T16:40:25.948" v="5858" actId="729"/>
        <pc:sldMkLst>
          <pc:docMk/>
          <pc:sldMk cId="672642086" sldId="2134805991"/>
        </pc:sldMkLst>
        <pc:spChg chg="mod">
          <ac:chgData name="Luciano Moreira" userId="81b8fdb4-f0e4-4457-95d0-b1edd3d5525c" providerId="ADAL" clId="{675B7749-5C25-4F76-A446-4779F4E2B149}" dt="2022-01-18T15:09:58.161" v="4187" actId="20577"/>
          <ac:spMkLst>
            <pc:docMk/>
            <pc:sldMk cId="672642086" sldId="2134805991"/>
            <ac:spMk id="2" creationId="{0C9FAE3A-FFD1-492F-A3BB-2ED8E5F5DDC9}"/>
          </ac:spMkLst>
        </pc:spChg>
        <pc:spChg chg="del">
          <ac:chgData name="Luciano Moreira" userId="81b8fdb4-f0e4-4457-95d0-b1edd3d5525c" providerId="ADAL" clId="{675B7749-5C25-4F76-A446-4779F4E2B149}" dt="2022-01-18T15:10:01.143" v="4188" actId="478"/>
          <ac:spMkLst>
            <pc:docMk/>
            <pc:sldMk cId="672642086" sldId="2134805991"/>
            <ac:spMk id="3" creationId="{7F7BA38C-0B4E-42CA-9731-232C90993BE3}"/>
          </ac:spMkLst>
        </pc:spChg>
        <pc:spChg chg="add mod">
          <ac:chgData name="Luciano Moreira" userId="81b8fdb4-f0e4-4457-95d0-b1edd3d5525c" providerId="ADAL" clId="{675B7749-5C25-4F76-A446-4779F4E2B149}" dt="2022-01-18T15:10:19.744" v="4236" actId="20577"/>
          <ac:spMkLst>
            <pc:docMk/>
            <pc:sldMk cId="672642086" sldId="2134805991"/>
            <ac:spMk id="5" creationId="{CA849635-3E7D-48F6-BAF0-63E388D59072}"/>
          </ac:spMkLst>
        </pc:spChg>
        <pc:picChg chg="add mod">
          <ac:chgData name="Luciano Moreira" userId="81b8fdb4-f0e4-4457-95d0-b1edd3d5525c" providerId="ADAL" clId="{675B7749-5C25-4F76-A446-4779F4E2B149}" dt="2022-01-18T15:10:30.173" v="4240" actId="14100"/>
          <ac:picMkLst>
            <pc:docMk/>
            <pc:sldMk cId="672642086" sldId="2134805991"/>
            <ac:picMk id="7" creationId="{06820241-1539-40C6-960E-BD800E40FD45}"/>
          </ac:picMkLst>
        </pc:picChg>
        <pc:picChg chg="add mod">
          <ac:chgData name="Luciano Moreira" userId="81b8fdb4-f0e4-4457-95d0-b1edd3d5525c" providerId="ADAL" clId="{675B7749-5C25-4F76-A446-4779F4E2B149}" dt="2022-01-18T15:11:03.651" v="4255" actId="14100"/>
          <ac:picMkLst>
            <pc:docMk/>
            <pc:sldMk cId="672642086" sldId="2134805991"/>
            <ac:picMk id="9" creationId="{B33DF0BC-1EE0-43BB-AD65-E80FE4260758}"/>
          </ac:picMkLst>
        </pc:picChg>
      </pc:sldChg>
      <pc:sldChg chg="modSp add mod ord modNotesTx">
        <pc:chgData name="Luciano Moreira" userId="81b8fdb4-f0e4-4457-95d0-b1edd3d5525c" providerId="ADAL" clId="{675B7749-5C25-4F76-A446-4779F4E2B149}" dt="2022-02-11T18:15:57.086" v="6567" actId="113"/>
        <pc:sldMkLst>
          <pc:docMk/>
          <pc:sldMk cId="805782871" sldId="2134805992"/>
        </pc:sldMkLst>
        <pc:spChg chg="mod">
          <ac:chgData name="Luciano Moreira" userId="81b8fdb4-f0e4-4457-95d0-b1edd3d5525c" providerId="ADAL" clId="{675B7749-5C25-4F76-A446-4779F4E2B149}" dt="2022-01-19T12:59:45.265" v="4319" actId="20577"/>
          <ac:spMkLst>
            <pc:docMk/>
            <pc:sldMk cId="805782871" sldId="2134805992"/>
            <ac:spMk id="2" creationId="{0C9FAE3A-FFD1-492F-A3BB-2ED8E5F5DDC9}"/>
          </ac:spMkLst>
        </pc:spChg>
        <pc:spChg chg="mod">
          <ac:chgData name="Luciano Moreira" userId="81b8fdb4-f0e4-4457-95d0-b1edd3d5525c" providerId="ADAL" clId="{675B7749-5C25-4F76-A446-4779F4E2B149}" dt="2022-02-11T18:15:57.086" v="6567" actId="113"/>
          <ac:spMkLst>
            <pc:docMk/>
            <pc:sldMk cId="805782871" sldId="2134805992"/>
            <ac:spMk id="3" creationId="{7F7BA38C-0B4E-42CA-9731-232C90993BE3}"/>
          </ac:spMkLst>
        </pc:spChg>
      </pc:sldChg>
      <pc:sldChg chg="add del">
        <pc:chgData name="Luciano Moreira" userId="81b8fdb4-f0e4-4457-95d0-b1edd3d5525c" providerId="ADAL" clId="{675B7749-5C25-4F76-A446-4779F4E2B149}" dt="2022-01-19T12:59:17.124" v="4261" actId="47"/>
        <pc:sldMkLst>
          <pc:docMk/>
          <pc:sldMk cId="3026591541" sldId="2134805992"/>
        </pc:sldMkLst>
      </pc:sldChg>
      <pc:sldChg chg="add del">
        <pc:chgData name="Luciano Moreira" userId="81b8fdb4-f0e4-4457-95d0-b1edd3d5525c" providerId="ADAL" clId="{675B7749-5C25-4F76-A446-4779F4E2B149}" dt="2022-01-19T12:59:26.631" v="4263"/>
        <pc:sldMkLst>
          <pc:docMk/>
          <pc:sldMk cId="3626613884" sldId="2134805992"/>
        </pc:sldMkLst>
      </pc:sldChg>
      <pc:sldChg chg="modSp add mod">
        <pc:chgData name="Luciano Moreira" userId="81b8fdb4-f0e4-4457-95d0-b1edd3d5525c" providerId="ADAL" clId="{675B7749-5C25-4F76-A446-4779F4E2B149}" dt="2022-04-01T16:42:29.008" v="6661" actId="6549"/>
        <pc:sldMkLst>
          <pc:docMk/>
          <pc:sldMk cId="1652733708" sldId="2134805993"/>
        </pc:sldMkLst>
        <pc:spChg chg="mod">
          <ac:chgData name="Luciano Moreira" userId="81b8fdb4-f0e4-4457-95d0-b1edd3d5525c" providerId="ADAL" clId="{675B7749-5C25-4F76-A446-4779F4E2B149}" dt="2022-04-01T16:42:29.008" v="6661" actId="6549"/>
          <ac:spMkLst>
            <pc:docMk/>
            <pc:sldMk cId="1652733708" sldId="2134805993"/>
            <ac:spMk id="3" creationId="{7F7BA38C-0B4E-42CA-9731-232C90993BE3}"/>
          </ac:spMkLst>
        </pc:spChg>
      </pc:sldChg>
      <pc:sldChg chg="modSp add mod modShow">
        <pc:chgData name="Luciano Moreira" userId="81b8fdb4-f0e4-4457-95d0-b1edd3d5525c" providerId="ADAL" clId="{675B7749-5C25-4F76-A446-4779F4E2B149}" dt="2022-01-28T13:18:03.171" v="5151" actId="729"/>
        <pc:sldMkLst>
          <pc:docMk/>
          <pc:sldMk cId="1813910881" sldId="2134805994"/>
        </pc:sldMkLst>
        <pc:spChg chg="mod">
          <ac:chgData name="Luciano Moreira" userId="81b8fdb4-f0e4-4457-95d0-b1edd3d5525c" providerId="ADAL" clId="{675B7749-5C25-4F76-A446-4779F4E2B149}" dt="2022-01-19T16:50:14.266" v="4476" actId="20577"/>
          <ac:spMkLst>
            <pc:docMk/>
            <pc:sldMk cId="1813910881" sldId="2134805994"/>
            <ac:spMk id="2" creationId="{0C9FAE3A-FFD1-492F-A3BB-2ED8E5F5DDC9}"/>
          </ac:spMkLst>
        </pc:spChg>
      </pc:sldChg>
      <pc:sldChg chg="addSp delSp modSp add mod ord modNotesTx">
        <pc:chgData name="Luciano Moreira" userId="81b8fdb4-f0e4-4457-95d0-b1edd3d5525c" providerId="ADAL" clId="{675B7749-5C25-4F76-A446-4779F4E2B149}" dt="2022-01-28T13:13:22.111" v="5055" actId="20577"/>
        <pc:sldMkLst>
          <pc:docMk/>
          <pc:sldMk cId="3916060484" sldId="2134805995"/>
        </pc:sldMkLst>
        <pc:spChg chg="mod">
          <ac:chgData name="Luciano Moreira" userId="81b8fdb4-f0e4-4457-95d0-b1edd3d5525c" providerId="ADAL" clId="{675B7749-5C25-4F76-A446-4779F4E2B149}" dt="2022-01-20T03:26:32.913" v="4496" actId="14100"/>
          <ac:spMkLst>
            <pc:docMk/>
            <pc:sldMk cId="3916060484" sldId="2134805995"/>
            <ac:spMk id="2" creationId="{F4E24130-22BE-475D-B99E-58E522A4A65B}"/>
          </ac:spMkLst>
        </pc:spChg>
        <pc:spChg chg="mod">
          <ac:chgData name="Luciano Moreira" userId="81b8fdb4-f0e4-4457-95d0-b1edd3d5525c" providerId="ADAL" clId="{675B7749-5C25-4F76-A446-4779F4E2B149}" dt="2022-01-20T03:55:59.179" v="4641" actId="403"/>
          <ac:spMkLst>
            <pc:docMk/>
            <pc:sldMk cId="3916060484" sldId="2134805995"/>
            <ac:spMk id="7" creationId="{8E564370-C6B7-4AE3-8429-3B5EABD1E8B8}"/>
          </ac:spMkLst>
        </pc:spChg>
        <pc:picChg chg="del">
          <ac:chgData name="Luciano Moreira" userId="81b8fdb4-f0e4-4457-95d0-b1edd3d5525c" providerId="ADAL" clId="{675B7749-5C25-4F76-A446-4779F4E2B149}" dt="2022-01-20T03:24:02.041" v="4478" actId="478"/>
          <ac:picMkLst>
            <pc:docMk/>
            <pc:sldMk cId="3916060484" sldId="2134805995"/>
            <ac:picMk id="3" creationId="{0EFD8108-9609-4FBD-869D-DA95AB3F8D8E}"/>
          </ac:picMkLst>
        </pc:picChg>
        <pc:picChg chg="add mod">
          <ac:chgData name="Luciano Moreira" userId="81b8fdb4-f0e4-4457-95d0-b1edd3d5525c" providerId="ADAL" clId="{675B7749-5C25-4F76-A446-4779F4E2B149}" dt="2022-01-20T03:26:36.522" v="4498" actId="1076"/>
          <ac:picMkLst>
            <pc:docMk/>
            <pc:sldMk cId="3916060484" sldId="2134805995"/>
            <ac:picMk id="5" creationId="{90D8B901-7DCC-4101-A16C-5B57E9219960}"/>
          </ac:picMkLst>
        </pc:picChg>
      </pc:sldChg>
      <pc:sldChg chg="addSp delSp modSp add mod ord modNotesTx">
        <pc:chgData name="Luciano Moreira" userId="81b8fdb4-f0e4-4457-95d0-b1edd3d5525c" providerId="ADAL" clId="{675B7749-5C25-4F76-A446-4779F4E2B149}" dt="2022-02-04T16:36:33.091" v="6542"/>
        <pc:sldMkLst>
          <pc:docMk/>
          <pc:sldMk cId="1380849894" sldId="2134805996"/>
        </pc:sldMkLst>
        <pc:spChg chg="del">
          <ac:chgData name="Luciano Moreira" userId="81b8fdb4-f0e4-4457-95d0-b1edd3d5525c" providerId="ADAL" clId="{675B7749-5C25-4F76-A446-4779F4E2B149}" dt="2022-01-20T03:29:20.008" v="4524" actId="478"/>
          <ac:spMkLst>
            <pc:docMk/>
            <pc:sldMk cId="1380849894" sldId="2134805996"/>
            <ac:spMk id="2" creationId="{0C9FAE3A-FFD1-492F-A3BB-2ED8E5F5DDC9}"/>
          </ac:spMkLst>
        </pc:spChg>
        <pc:spChg chg="add del mod">
          <ac:chgData name="Luciano Moreira" userId="81b8fdb4-f0e4-4457-95d0-b1edd3d5525c" providerId="ADAL" clId="{675B7749-5C25-4F76-A446-4779F4E2B149}" dt="2022-01-20T03:28:52.057" v="4508"/>
          <ac:spMkLst>
            <pc:docMk/>
            <pc:sldMk cId="1380849894" sldId="2134805996"/>
            <ac:spMk id="3" creationId="{D1501ECB-4C64-4440-8069-F87F19D9DA18}"/>
          </ac:spMkLst>
        </pc:spChg>
        <pc:spChg chg="add del mod">
          <ac:chgData name="Luciano Moreira" userId="81b8fdb4-f0e4-4457-95d0-b1edd3d5525c" providerId="ADAL" clId="{675B7749-5C25-4F76-A446-4779F4E2B149}" dt="2022-01-20T03:29:07.170" v="4513"/>
          <ac:spMkLst>
            <pc:docMk/>
            <pc:sldMk cId="1380849894" sldId="2134805996"/>
            <ac:spMk id="4" creationId="{06F3205C-B2F8-455F-BA02-3716A39B73D5}"/>
          </ac:spMkLst>
        </pc:spChg>
        <pc:spChg chg="add del mod">
          <ac:chgData name="Luciano Moreira" userId="81b8fdb4-f0e4-4457-95d0-b1edd3d5525c" providerId="ADAL" clId="{675B7749-5C25-4F76-A446-4779F4E2B149}" dt="2022-01-20T03:29:39.984" v="4532" actId="478"/>
          <ac:spMkLst>
            <pc:docMk/>
            <pc:sldMk cId="1380849894" sldId="2134805996"/>
            <ac:spMk id="6" creationId="{712DD047-CBE3-4899-9E24-A6E463B20C15}"/>
          </ac:spMkLst>
        </pc:spChg>
        <pc:spChg chg="add del mod">
          <ac:chgData name="Luciano Moreira" userId="81b8fdb4-f0e4-4457-95d0-b1edd3d5525c" providerId="ADAL" clId="{675B7749-5C25-4F76-A446-4779F4E2B149}" dt="2022-01-28T16:38:50.690" v="5857" actId="20577"/>
          <ac:spMkLst>
            <pc:docMk/>
            <pc:sldMk cId="1380849894" sldId="2134805996"/>
            <ac:spMk id="9" creationId="{93BAB0A5-9F96-4853-BB1B-07979C34AC24}"/>
          </ac:spMkLst>
        </pc:spChg>
        <pc:spChg chg="add mod">
          <ac:chgData name="Luciano Moreira" userId="81b8fdb4-f0e4-4457-95d0-b1edd3d5525c" providerId="ADAL" clId="{675B7749-5C25-4F76-A446-4779F4E2B149}" dt="2022-01-20T03:32:02.536" v="4635" actId="20577"/>
          <ac:spMkLst>
            <pc:docMk/>
            <pc:sldMk cId="1380849894" sldId="2134805996"/>
            <ac:spMk id="11" creationId="{3ADD76B0-86FB-41B2-825A-C234E771A521}"/>
          </ac:spMkLst>
        </pc:spChg>
        <pc:graphicFrameChg chg="del">
          <ac:chgData name="Luciano Moreira" userId="81b8fdb4-f0e4-4457-95d0-b1edd3d5525c" providerId="ADAL" clId="{675B7749-5C25-4F76-A446-4779F4E2B149}" dt="2022-01-20T03:28:47.187" v="4506" actId="478"/>
          <ac:graphicFrameMkLst>
            <pc:docMk/>
            <pc:sldMk cId="1380849894" sldId="2134805996"/>
            <ac:graphicFrameMk id="10" creationId="{7723070E-D18C-4D5D-95A0-BA6D48AFB526}"/>
          </ac:graphicFrameMkLst>
        </pc:graphicFrameChg>
      </pc:sldChg>
      <pc:sldChg chg="modSp add mod ord modShow modNotesTx">
        <pc:chgData name="Luciano Moreira" userId="81b8fdb4-f0e4-4457-95d0-b1edd3d5525c" providerId="ADAL" clId="{675B7749-5C25-4F76-A446-4779F4E2B149}" dt="2022-01-28T13:09:42.359" v="5034" actId="729"/>
        <pc:sldMkLst>
          <pc:docMk/>
          <pc:sldMk cId="2044309654" sldId="2134805997"/>
        </pc:sldMkLst>
        <pc:spChg chg="mod">
          <ac:chgData name="Luciano Moreira" userId="81b8fdb4-f0e4-4457-95d0-b1edd3d5525c" providerId="ADAL" clId="{675B7749-5C25-4F76-A446-4779F4E2B149}" dt="2022-01-28T01:15:10.052" v="4889" actId="20577"/>
          <ac:spMkLst>
            <pc:docMk/>
            <pc:sldMk cId="2044309654" sldId="2134805997"/>
            <ac:spMk id="2" creationId="{0C9FAE3A-FFD1-492F-A3BB-2ED8E5F5DDC9}"/>
          </ac:spMkLst>
        </pc:spChg>
        <pc:spChg chg="mod">
          <ac:chgData name="Luciano Moreira" userId="81b8fdb4-f0e4-4457-95d0-b1edd3d5525c" providerId="ADAL" clId="{675B7749-5C25-4F76-A446-4779F4E2B149}" dt="2022-01-28T13:09:22.490" v="5031" actId="20577"/>
          <ac:spMkLst>
            <pc:docMk/>
            <pc:sldMk cId="2044309654" sldId="2134805997"/>
            <ac:spMk id="3" creationId="{7F7BA38C-0B4E-42CA-9731-232C90993BE3}"/>
          </ac:spMkLst>
        </pc:spChg>
      </pc:sldChg>
      <pc:sldChg chg="add del ord modNotesTx">
        <pc:chgData name="Luciano Moreira" userId="81b8fdb4-f0e4-4457-95d0-b1edd3d5525c" providerId="ADAL" clId="{675B7749-5C25-4F76-A446-4779F4E2B149}" dt="2022-01-28T16:06:43.300" v="5852" actId="20577"/>
        <pc:sldMkLst>
          <pc:docMk/>
          <pc:sldMk cId="897533680" sldId="2134805998"/>
        </pc:sldMkLst>
      </pc:sldChg>
      <pc:sldChg chg="add del">
        <pc:chgData name="Luciano Moreira" userId="81b8fdb4-f0e4-4457-95d0-b1edd3d5525c" providerId="ADAL" clId="{675B7749-5C25-4F76-A446-4779F4E2B149}" dt="2022-01-28T01:36:43.639" v="4944" actId="2696"/>
        <pc:sldMkLst>
          <pc:docMk/>
          <pc:sldMk cId="1260223563" sldId="2134805998"/>
        </pc:sldMkLst>
      </pc:sldChg>
      <pc:sldChg chg="addSp delSp modSp add del mod modAnim modNotesTx">
        <pc:chgData name="Luciano Moreira" userId="81b8fdb4-f0e4-4457-95d0-b1edd3d5525c" providerId="ADAL" clId="{675B7749-5C25-4F76-A446-4779F4E2B149}" dt="2022-01-28T01:36:31.310" v="4942" actId="2696"/>
        <pc:sldMkLst>
          <pc:docMk/>
          <pc:sldMk cId="1311965654" sldId="2134805998"/>
        </pc:sldMkLst>
        <pc:spChg chg="mod">
          <ac:chgData name="Luciano Moreira" userId="81b8fdb4-f0e4-4457-95d0-b1edd3d5525c" providerId="ADAL" clId="{675B7749-5C25-4F76-A446-4779F4E2B149}" dt="2022-01-28T01:28:43.751" v="4900" actId="20577"/>
          <ac:spMkLst>
            <pc:docMk/>
            <pc:sldMk cId="1311965654" sldId="2134805998"/>
            <ac:spMk id="2" creationId="{F4E24130-22BE-475D-B99E-58E522A4A65B}"/>
          </ac:spMkLst>
        </pc:spChg>
        <pc:spChg chg="add mod">
          <ac:chgData name="Luciano Moreira" userId="81b8fdb4-f0e4-4457-95d0-b1edd3d5525c" providerId="ADAL" clId="{675B7749-5C25-4F76-A446-4779F4E2B149}" dt="2022-01-28T01:33:10.626" v="4920" actId="1076"/>
          <ac:spMkLst>
            <pc:docMk/>
            <pc:sldMk cId="1311965654" sldId="2134805998"/>
            <ac:spMk id="4" creationId="{8BD23B5C-9FEC-4A83-82F4-2DBED0BF42F4}"/>
          </ac:spMkLst>
        </pc:spChg>
        <pc:spChg chg="add del">
          <ac:chgData name="Luciano Moreira" userId="81b8fdb4-f0e4-4457-95d0-b1edd3d5525c" providerId="ADAL" clId="{675B7749-5C25-4F76-A446-4779F4E2B149}" dt="2022-01-28T01:32:46.398" v="4909" actId="22"/>
          <ac:spMkLst>
            <pc:docMk/>
            <pc:sldMk cId="1311965654" sldId="2134805998"/>
            <ac:spMk id="5" creationId="{FDCE88B5-CB84-4E8C-9DD4-5325310A9C95}"/>
          </ac:spMkLst>
        </pc:spChg>
        <pc:picChg chg="add mod ord">
          <ac:chgData name="Luciano Moreira" userId="81b8fdb4-f0e4-4457-95d0-b1edd3d5525c" providerId="ADAL" clId="{675B7749-5C25-4F76-A446-4779F4E2B149}" dt="2022-01-28T01:35:22.651" v="4938" actId="1076"/>
          <ac:picMkLst>
            <pc:docMk/>
            <pc:sldMk cId="1311965654" sldId="2134805998"/>
            <ac:picMk id="8" creationId="{A6CE07FA-3C6A-4707-ADC7-48AC9F32887E}"/>
          </ac:picMkLst>
        </pc:picChg>
        <pc:picChg chg="add mod">
          <ac:chgData name="Luciano Moreira" userId="81b8fdb4-f0e4-4457-95d0-b1edd3d5525c" providerId="ADAL" clId="{675B7749-5C25-4F76-A446-4779F4E2B149}" dt="2022-01-28T01:35:27.033" v="4939" actId="1076"/>
          <ac:picMkLst>
            <pc:docMk/>
            <pc:sldMk cId="1311965654" sldId="2134805998"/>
            <ac:picMk id="10" creationId="{B5ECFAD7-14FA-48D7-8D19-A6CE0CD9602B}"/>
          </ac:picMkLst>
        </pc:picChg>
        <pc:picChg chg="del">
          <ac:chgData name="Luciano Moreira" userId="81b8fdb4-f0e4-4457-95d0-b1edd3d5525c" providerId="ADAL" clId="{675B7749-5C25-4F76-A446-4779F4E2B149}" dt="2022-01-28T01:28:46.228" v="4901" actId="478"/>
          <ac:picMkLst>
            <pc:docMk/>
            <pc:sldMk cId="1311965654" sldId="2134805998"/>
            <ac:picMk id="2050" creationId="{AB6B9C7F-50CB-4565-B6B6-F025F561C71E}"/>
          </ac:picMkLst>
        </pc:picChg>
      </pc:sldChg>
      <pc:sldChg chg="modSp add mod ord modShow modNotesTx">
        <pc:chgData name="Luciano Moreira" userId="81b8fdb4-f0e4-4457-95d0-b1edd3d5525c" providerId="ADAL" clId="{675B7749-5C25-4F76-A446-4779F4E2B149}" dt="2022-02-03T21:47:58.765" v="6348"/>
        <pc:sldMkLst>
          <pc:docMk/>
          <pc:sldMk cId="2733375989" sldId="2134805999"/>
        </pc:sldMkLst>
        <pc:spChg chg="mod">
          <ac:chgData name="Luciano Moreira" userId="81b8fdb4-f0e4-4457-95d0-b1edd3d5525c" providerId="ADAL" clId="{675B7749-5C25-4F76-A446-4779F4E2B149}" dt="2022-01-28T13:17:43.987" v="5150" actId="20577"/>
          <ac:spMkLst>
            <pc:docMk/>
            <pc:sldMk cId="2733375989" sldId="2134805999"/>
            <ac:spMk id="9" creationId="{93BAB0A5-9F96-4853-BB1B-07979C34AC24}"/>
          </ac:spMkLst>
        </pc:spChg>
        <pc:spChg chg="mod">
          <ac:chgData name="Luciano Moreira" userId="81b8fdb4-f0e4-4457-95d0-b1edd3d5525c" providerId="ADAL" clId="{675B7749-5C25-4F76-A446-4779F4E2B149}" dt="2022-01-28T13:16:46.730" v="5089" actId="20577"/>
          <ac:spMkLst>
            <pc:docMk/>
            <pc:sldMk cId="2733375989" sldId="2134805999"/>
            <ac:spMk id="11" creationId="{3ADD76B0-86FB-41B2-825A-C234E771A521}"/>
          </ac:spMkLst>
        </pc:spChg>
      </pc:sldChg>
      <pc:sldChg chg="modSp add mod">
        <pc:chgData name="Luciano Moreira" userId="81b8fdb4-f0e4-4457-95d0-b1edd3d5525c" providerId="ADAL" clId="{675B7749-5C25-4F76-A446-4779F4E2B149}" dt="2022-01-28T16:07:19.322" v="5856" actId="20577"/>
        <pc:sldMkLst>
          <pc:docMk/>
          <pc:sldMk cId="3403726279" sldId="2134806000"/>
        </pc:sldMkLst>
        <pc:spChg chg="mod">
          <ac:chgData name="Luciano Moreira" userId="81b8fdb4-f0e4-4457-95d0-b1edd3d5525c" providerId="ADAL" clId="{675B7749-5C25-4F76-A446-4779F4E2B149}" dt="2022-01-28T16:07:19.322" v="5856" actId="20577"/>
          <ac:spMkLst>
            <pc:docMk/>
            <pc:sldMk cId="3403726279" sldId="2134806000"/>
            <ac:spMk id="2" creationId="{D6A5376F-A0DD-4803-B586-4ABB49308E71}"/>
          </ac:spMkLst>
        </pc:spChg>
      </pc:sldChg>
      <pc:sldChg chg="addSp delSp modSp add mod ord modShow modNotesTx">
        <pc:chgData name="Luciano Moreira" userId="81b8fdb4-f0e4-4457-95d0-b1edd3d5525c" providerId="ADAL" clId="{675B7749-5C25-4F76-A446-4779F4E2B149}" dt="2022-02-03T22:37:46.677" v="6503"/>
        <pc:sldMkLst>
          <pc:docMk/>
          <pc:sldMk cId="3240644812" sldId="2134806001"/>
        </pc:sldMkLst>
        <pc:spChg chg="add mod">
          <ac:chgData name="Luciano Moreira" userId="81b8fdb4-f0e4-4457-95d0-b1edd3d5525c" providerId="ADAL" clId="{675B7749-5C25-4F76-A446-4779F4E2B149}" dt="2022-02-03T16:35:48.342" v="6021" actId="478"/>
          <ac:spMkLst>
            <pc:docMk/>
            <pc:sldMk cId="3240644812" sldId="2134806001"/>
            <ac:spMk id="5" creationId="{46CA211B-C41C-468E-999D-5D7F05A0063F}"/>
          </ac:spMkLst>
        </pc:spChg>
        <pc:spChg chg="del">
          <ac:chgData name="Luciano Moreira" userId="81b8fdb4-f0e4-4457-95d0-b1edd3d5525c" providerId="ADAL" clId="{675B7749-5C25-4F76-A446-4779F4E2B149}" dt="2022-02-03T16:35:48.342" v="6021" actId="478"/>
          <ac:spMkLst>
            <pc:docMk/>
            <pc:sldMk cId="3240644812" sldId="2134806001"/>
            <ac:spMk id="9" creationId="{93BAB0A5-9F96-4853-BB1B-07979C34AC24}"/>
          </ac:spMkLst>
        </pc:spChg>
        <pc:spChg chg="mod">
          <ac:chgData name="Luciano Moreira" userId="81b8fdb4-f0e4-4457-95d0-b1edd3d5525c" providerId="ADAL" clId="{675B7749-5C25-4F76-A446-4779F4E2B149}" dt="2022-02-03T16:35:44.964" v="6020" actId="20577"/>
          <ac:spMkLst>
            <pc:docMk/>
            <pc:sldMk cId="3240644812" sldId="2134806001"/>
            <ac:spMk id="11" creationId="{3ADD76B0-86FB-41B2-825A-C234E771A521}"/>
          </ac:spMkLst>
        </pc:spChg>
        <pc:picChg chg="add mod">
          <ac:chgData name="Luciano Moreira" userId="81b8fdb4-f0e4-4457-95d0-b1edd3d5525c" providerId="ADAL" clId="{675B7749-5C25-4F76-A446-4779F4E2B149}" dt="2022-02-03T16:35:52.550" v="6023" actId="14100"/>
          <ac:picMkLst>
            <pc:docMk/>
            <pc:sldMk cId="3240644812" sldId="2134806001"/>
            <ac:picMk id="3" creationId="{FA8EABFB-DFDB-4452-93C0-AFC0DF06D656}"/>
          </ac:picMkLst>
        </pc:picChg>
      </pc:sldChg>
      <pc:sldChg chg="addSp delSp modSp add mod ord modNotesTx">
        <pc:chgData name="Luciano Moreira" userId="81b8fdb4-f0e4-4457-95d0-b1edd3d5525c" providerId="ADAL" clId="{675B7749-5C25-4F76-A446-4779F4E2B149}" dt="2022-02-03T21:47:58.765" v="6348"/>
        <pc:sldMkLst>
          <pc:docMk/>
          <pc:sldMk cId="2795861240" sldId="2134806002"/>
        </pc:sldMkLst>
        <pc:spChg chg="del">
          <ac:chgData name="Luciano Moreira" userId="81b8fdb4-f0e4-4457-95d0-b1edd3d5525c" providerId="ADAL" clId="{675B7749-5C25-4F76-A446-4779F4E2B149}" dt="2022-02-03T17:12:51.659" v="6028" actId="478"/>
          <ac:spMkLst>
            <pc:docMk/>
            <pc:sldMk cId="2795861240" sldId="2134806002"/>
            <ac:spMk id="5" creationId="{46CA211B-C41C-468E-999D-5D7F05A0063F}"/>
          </ac:spMkLst>
        </pc:spChg>
        <pc:spChg chg="mod">
          <ac:chgData name="Luciano Moreira" userId="81b8fdb4-f0e4-4457-95d0-b1edd3d5525c" providerId="ADAL" clId="{675B7749-5C25-4F76-A446-4779F4E2B149}" dt="2022-02-03T17:13:03.267" v="6050" actId="20577"/>
          <ac:spMkLst>
            <pc:docMk/>
            <pc:sldMk cId="2795861240" sldId="2134806002"/>
            <ac:spMk id="11" creationId="{3ADD76B0-86FB-41B2-825A-C234E771A521}"/>
          </ac:spMkLst>
        </pc:spChg>
        <pc:spChg chg="add del mod">
          <ac:chgData name="Luciano Moreira" userId="81b8fdb4-f0e4-4457-95d0-b1edd3d5525c" providerId="ADAL" clId="{675B7749-5C25-4F76-A446-4779F4E2B149}" dt="2022-02-03T21:47:32.360" v="6346" actId="478"/>
          <ac:spMkLst>
            <pc:docMk/>
            <pc:sldMk cId="2795861240" sldId="2134806002"/>
            <ac:spMk id="12" creationId="{81387E90-4DFF-4D52-B947-FC0D4D306335}"/>
          </ac:spMkLst>
        </pc:spChg>
        <pc:picChg chg="del">
          <ac:chgData name="Luciano Moreira" userId="81b8fdb4-f0e4-4457-95d0-b1edd3d5525c" providerId="ADAL" clId="{675B7749-5C25-4F76-A446-4779F4E2B149}" dt="2022-02-03T17:12:48.802" v="6027" actId="478"/>
          <ac:picMkLst>
            <pc:docMk/>
            <pc:sldMk cId="2795861240" sldId="2134806002"/>
            <ac:picMk id="3" creationId="{FA8EABFB-DFDB-4452-93C0-AFC0DF06D656}"/>
          </ac:picMkLst>
        </pc:picChg>
        <pc:picChg chg="add del mod">
          <ac:chgData name="Luciano Moreira" userId="81b8fdb4-f0e4-4457-95d0-b1edd3d5525c" providerId="ADAL" clId="{675B7749-5C25-4F76-A446-4779F4E2B149}" dt="2022-02-03T21:46:45.311" v="6337" actId="478"/>
          <ac:picMkLst>
            <pc:docMk/>
            <pc:sldMk cId="2795861240" sldId="2134806002"/>
            <ac:picMk id="4" creationId="{F9B572EA-6728-46E3-94EC-1FA7D1B54FC5}"/>
          </ac:picMkLst>
        </pc:picChg>
        <pc:picChg chg="add del mod">
          <ac:chgData name="Luciano Moreira" userId="81b8fdb4-f0e4-4457-95d0-b1edd3d5525c" providerId="ADAL" clId="{675B7749-5C25-4F76-A446-4779F4E2B149}" dt="2022-02-03T21:46:53.469" v="6341" actId="478"/>
          <ac:picMkLst>
            <pc:docMk/>
            <pc:sldMk cId="2795861240" sldId="2134806002"/>
            <ac:picMk id="7" creationId="{BBA15EA5-532C-430C-BC09-89BCB1F735D3}"/>
          </ac:picMkLst>
        </pc:picChg>
        <pc:picChg chg="add mod">
          <ac:chgData name="Luciano Moreira" userId="81b8fdb4-f0e4-4457-95d0-b1edd3d5525c" providerId="ADAL" clId="{675B7749-5C25-4F76-A446-4779F4E2B149}" dt="2022-02-03T21:47:20.955" v="6343" actId="1076"/>
          <ac:picMkLst>
            <pc:docMk/>
            <pc:sldMk cId="2795861240" sldId="2134806002"/>
            <ac:picMk id="9" creationId="{3C183A2A-D8F8-473D-9CBF-E4590C5183C0}"/>
          </ac:picMkLst>
        </pc:picChg>
      </pc:sldChg>
      <pc:sldChg chg="addSp delSp modSp add mod ord modNotesTx">
        <pc:chgData name="Luciano Moreira" userId="81b8fdb4-f0e4-4457-95d0-b1edd3d5525c" providerId="ADAL" clId="{675B7749-5C25-4F76-A446-4779F4E2B149}" dt="2022-02-03T22:06:40.970" v="6399" actId="1076"/>
        <pc:sldMkLst>
          <pc:docMk/>
          <pc:sldMk cId="2431861251" sldId="2134806003"/>
        </pc:sldMkLst>
        <pc:spChg chg="add del mod">
          <ac:chgData name="Luciano Moreira" userId="81b8fdb4-f0e4-4457-95d0-b1edd3d5525c" providerId="ADAL" clId="{675B7749-5C25-4F76-A446-4779F4E2B149}" dt="2022-02-03T22:05:55.406" v="6393" actId="478"/>
          <ac:spMkLst>
            <pc:docMk/>
            <pc:sldMk cId="2431861251" sldId="2134806003"/>
            <ac:spMk id="5" creationId="{1ED37631-CC86-48F8-981B-BAFE9614F1A9}"/>
          </ac:spMkLst>
        </pc:spChg>
        <pc:spChg chg="mod">
          <ac:chgData name="Luciano Moreira" userId="81b8fdb4-f0e4-4457-95d0-b1edd3d5525c" providerId="ADAL" clId="{675B7749-5C25-4F76-A446-4779F4E2B149}" dt="2022-02-03T17:21:54.062" v="6069" actId="20577"/>
          <ac:spMkLst>
            <pc:docMk/>
            <pc:sldMk cId="2431861251" sldId="2134806003"/>
            <ac:spMk id="11" creationId="{3ADD76B0-86FB-41B2-825A-C234E771A521}"/>
          </ac:spMkLst>
        </pc:spChg>
        <pc:picChg chg="del">
          <ac:chgData name="Luciano Moreira" userId="81b8fdb4-f0e4-4457-95d0-b1edd3d5525c" providerId="ADAL" clId="{675B7749-5C25-4F76-A446-4779F4E2B149}" dt="2022-02-03T17:21:56.037" v="6070" actId="478"/>
          <ac:picMkLst>
            <pc:docMk/>
            <pc:sldMk cId="2431861251" sldId="2134806003"/>
            <ac:picMk id="4" creationId="{F9B572EA-6728-46E3-94EC-1FA7D1B54FC5}"/>
          </ac:picMkLst>
        </pc:picChg>
        <pc:picChg chg="add mod">
          <ac:chgData name="Luciano Moreira" userId="81b8fdb4-f0e4-4457-95d0-b1edd3d5525c" providerId="ADAL" clId="{675B7749-5C25-4F76-A446-4779F4E2B149}" dt="2022-02-03T22:06:40.970" v="6399" actId="1076"/>
          <ac:picMkLst>
            <pc:docMk/>
            <pc:sldMk cId="2431861251" sldId="2134806003"/>
            <ac:picMk id="6" creationId="{AF702A73-91B1-48AB-A5F7-BEDBE1E968E5}"/>
          </ac:picMkLst>
        </pc:picChg>
      </pc:sldChg>
    </pc:docChg>
  </pc:docChgLst>
  <pc:docChgLst>
    <pc:chgData name="Luciano Moreira" userId="81b8fdb4-f0e4-4457-95d0-b1edd3d5525c" providerId="ADAL" clId="{17699030-C00E-4A84-BD51-48DD6821E1F3}"/>
    <pc:docChg chg="undo custSel delSld modSld sldOrd modSection">
      <pc:chgData name="Luciano Moreira" userId="81b8fdb4-f0e4-4457-95d0-b1edd3d5525c" providerId="ADAL" clId="{17699030-C00E-4A84-BD51-48DD6821E1F3}" dt="2022-05-17T18:58:27.325" v="176" actId="20577"/>
      <pc:docMkLst>
        <pc:docMk/>
      </pc:docMkLst>
      <pc:sldChg chg="modSp mod">
        <pc:chgData name="Luciano Moreira" userId="81b8fdb4-f0e4-4457-95d0-b1edd3d5525c" providerId="ADAL" clId="{17699030-C00E-4A84-BD51-48DD6821E1F3}" dt="2022-05-17T18:58:27.325" v="176" actId="20577"/>
        <pc:sldMkLst>
          <pc:docMk/>
          <pc:sldMk cId="1556619932" sldId="2134805962"/>
        </pc:sldMkLst>
        <pc:spChg chg="mod">
          <ac:chgData name="Luciano Moreira" userId="81b8fdb4-f0e4-4457-95d0-b1edd3d5525c" providerId="ADAL" clId="{17699030-C00E-4A84-BD51-48DD6821E1F3}" dt="2022-05-17T18:58:27.325" v="176" actId="20577"/>
          <ac:spMkLst>
            <pc:docMk/>
            <pc:sldMk cId="1556619932" sldId="2134805962"/>
            <ac:spMk id="2" creationId="{D6A5376F-A0DD-4803-B586-4ABB49308E71}"/>
          </ac:spMkLst>
        </pc:spChg>
      </pc:sldChg>
      <pc:sldChg chg="modSp mod ord modShow modNotesTx">
        <pc:chgData name="Luciano Moreira" userId="81b8fdb4-f0e4-4457-95d0-b1edd3d5525c" providerId="ADAL" clId="{17699030-C00E-4A84-BD51-48DD6821E1F3}" dt="2022-05-17T11:11:57.192" v="123" actId="20577"/>
        <pc:sldMkLst>
          <pc:docMk/>
          <pc:sldMk cId="1619479186" sldId="2134805975"/>
        </pc:sldMkLst>
        <pc:spChg chg="mod">
          <ac:chgData name="Luciano Moreira" userId="81b8fdb4-f0e4-4457-95d0-b1edd3d5525c" providerId="ADAL" clId="{17699030-C00E-4A84-BD51-48DD6821E1F3}" dt="2022-05-17T11:11:03.315" v="120" actId="20577"/>
          <ac:spMkLst>
            <pc:docMk/>
            <pc:sldMk cId="1619479186" sldId="2134805975"/>
            <ac:spMk id="3" creationId="{7F7BA38C-0B4E-42CA-9731-232C90993BE3}"/>
          </ac:spMkLst>
        </pc:spChg>
      </pc:sldChg>
      <pc:sldChg chg="del">
        <pc:chgData name="Luciano Moreira" userId="81b8fdb4-f0e4-4457-95d0-b1edd3d5525c" providerId="ADAL" clId="{17699030-C00E-4A84-BD51-48DD6821E1F3}" dt="2022-05-17T03:44:09.220" v="46" actId="47"/>
        <pc:sldMkLst>
          <pc:docMk/>
          <pc:sldMk cId="3349035450" sldId="2134805978"/>
        </pc:sldMkLst>
      </pc:sldChg>
      <pc:sldChg chg="del">
        <pc:chgData name="Luciano Moreira" userId="81b8fdb4-f0e4-4457-95d0-b1edd3d5525c" providerId="ADAL" clId="{17699030-C00E-4A84-BD51-48DD6821E1F3}" dt="2022-05-17T03:32:37.206" v="0" actId="47"/>
        <pc:sldMkLst>
          <pc:docMk/>
          <pc:sldMk cId="1652733708" sldId="2134805993"/>
        </pc:sldMkLst>
      </pc:sldChg>
      <pc:sldChg chg="del">
        <pc:chgData name="Luciano Moreira" userId="81b8fdb4-f0e4-4457-95d0-b1edd3d5525c" providerId="ADAL" clId="{17699030-C00E-4A84-BD51-48DD6821E1F3}" dt="2022-05-17T03:32:38.252" v="1" actId="47"/>
        <pc:sldMkLst>
          <pc:docMk/>
          <pc:sldMk cId="1813910881" sldId="2134805994"/>
        </pc:sldMkLst>
      </pc:sldChg>
      <pc:sldChg chg="mod ord modShow">
        <pc:chgData name="Luciano Moreira" userId="81b8fdb4-f0e4-4457-95d0-b1edd3d5525c" providerId="ADAL" clId="{17699030-C00E-4A84-BD51-48DD6821E1F3}" dt="2022-05-17T03:39:15.075" v="6" actId="729"/>
        <pc:sldMkLst>
          <pc:docMk/>
          <pc:sldMk cId="3240644812" sldId="2134806001"/>
        </pc:sldMkLst>
      </pc:sldChg>
      <pc:sldChg chg="modNotesTx">
        <pc:chgData name="Luciano Moreira" userId="81b8fdb4-f0e4-4457-95d0-b1edd3d5525c" providerId="ADAL" clId="{17699030-C00E-4A84-BD51-48DD6821E1F3}" dt="2022-05-17T12:25:43.821" v="128" actId="20577"/>
        <pc:sldMkLst>
          <pc:docMk/>
          <pc:sldMk cId="2795861240" sldId="2134806002"/>
        </pc:sldMkLst>
      </pc:sldChg>
      <pc:sldChg chg="modNotesTx">
        <pc:chgData name="Luciano Moreira" userId="81b8fdb4-f0e4-4457-95d0-b1edd3d5525c" providerId="ADAL" clId="{17699030-C00E-4A84-BD51-48DD6821E1F3}" dt="2022-05-17T13:08:21.431" v="130" actId="6549"/>
        <pc:sldMkLst>
          <pc:docMk/>
          <pc:sldMk cId="2431861251" sldId="2134806003"/>
        </pc:sldMkLst>
      </pc:sldChg>
      <pc:sldChg chg="modNotesTx">
        <pc:chgData name="Luciano Moreira" userId="81b8fdb4-f0e4-4457-95d0-b1edd3d5525c" providerId="ADAL" clId="{17699030-C00E-4A84-BD51-48DD6821E1F3}" dt="2022-05-17T11:12:00.575" v="124" actId="20577"/>
        <pc:sldMkLst>
          <pc:docMk/>
          <pc:sldMk cId="2485717638" sldId="2134806004"/>
        </pc:sldMkLst>
      </pc:sldChg>
      <pc:sldChg chg="ord">
        <pc:chgData name="Luciano Moreira" userId="81b8fdb4-f0e4-4457-95d0-b1edd3d5525c" providerId="ADAL" clId="{17699030-C00E-4A84-BD51-48DD6821E1F3}" dt="2022-05-17T03:34:11.146" v="3"/>
        <pc:sldMkLst>
          <pc:docMk/>
          <pc:sldMk cId="3884285377" sldId="2134806013"/>
        </pc:sldMkLst>
      </pc:sldChg>
    </pc:docChg>
  </pc:docChgLst>
  <pc:docChgLst>
    <pc:chgData name="Luciano Moreira" userId="81b8fdb4-f0e4-4457-95d0-b1edd3d5525c" providerId="ADAL" clId="{F78C0BF0-F400-4D29-B8B0-7A2537860533}"/>
    <pc:docChg chg="undo custSel addSld delSld modSld sldOrd modSection">
      <pc:chgData name="Luciano Moreira" userId="81b8fdb4-f0e4-4457-95d0-b1edd3d5525c" providerId="ADAL" clId="{F78C0BF0-F400-4D29-B8B0-7A2537860533}" dt="2022-01-18T11:03:39.028" v="118"/>
      <pc:docMkLst>
        <pc:docMk/>
      </pc:docMkLst>
      <pc:sldChg chg="del">
        <pc:chgData name="Luciano Moreira" userId="81b8fdb4-f0e4-4457-95d0-b1edd3d5525c" providerId="ADAL" clId="{F78C0BF0-F400-4D29-B8B0-7A2537860533}" dt="2022-01-18T10:58:29.578" v="41" actId="47"/>
        <pc:sldMkLst>
          <pc:docMk/>
          <pc:sldMk cId="3349526911" sldId="265"/>
        </pc:sldMkLst>
      </pc:sldChg>
      <pc:sldChg chg="del">
        <pc:chgData name="Luciano Moreira" userId="81b8fdb4-f0e4-4457-95d0-b1edd3d5525c" providerId="ADAL" clId="{F78C0BF0-F400-4D29-B8B0-7A2537860533}" dt="2022-01-18T10:58:29.578" v="41" actId="47"/>
        <pc:sldMkLst>
          <pc:docMk/>
          <pc:sldMk cId="2354477271" sldId="3191"/>
        </pc:sldMkLst>
      </pc:sldChg>
      <pc:sldChg chg="del">
        <pc:chgData name="Luciano Moreira" userId="81b8fdb4-f0e4-4457-95d0-b1edd3d5525c" providerId="ADAL" clId="{F78C0BF0-F400-4D29-B8B0-7A2537860533}" dt="2022-01-18T10:58:29.578" v="41" actId="47"/>
        <pc:sldMkLst>
          <pc:docMk/>
          <pc:sldMk cId="2276092161" sldId="3192"/>
        </pc:sldMkLst>
      </pc:sldChg>
      <pc:sldChg chg="del">
        <pc:chgData name="Luciano Moreira" userId="81b8fdb4-f0e4-4457-95d0-b1edd3d5525c" providerId="ADAL" clId="{F78C0BF0-F400-4D29-B8B0-7A2537860533}" dt="2022-01-18T10:58:29.578" v="41" actId="47"/>
        <pc:sldMkLst>
          <pc:docMk/>
          <pc:sldMk cId="3164954379" sldId="3199"/>
        </pc:sldMkLst>
      </pc:sldChg>
      <pc:sldChg chg="modSp mod">
        <pc:chgData name="Luciano Moreira" userId="81b8fdb4-f0e4-4457-95d0-b1edd3d5525c" providerId="ADAL" clId="{F78C0BF0-F400-4D29-B8B0-7A2537860533}" dt="2022-01-18T10:58:02.996" v="40" actId="20577"/>
        <pc:sldMkLst>
          <pc:docMk/>
          <pc:sldMk cId="4005972839" sldId="2134805934"/>
        </pc:sldMkLst>
        <pc:spChg chg="mod">
          <ac:chgData name="Luciano Moreira" userId="81b8fdb4-f0e4-4457-95d0-b1edd3d5525c" providerId="ADAL" clId="{F78C0BF0-F400-4D29-B8B0-7A2537860533}" dt="2022-01-18T10:58:02.996" v="40" actId="20577"/>
          <ac:spMkLst>
            <pc:docMk/>
            <pc:sldMk cId="4005972839" sldId="2134805934"/>
            <ac:spMk id="2" creationId="{3B01039F-6415-435F-9E9C-8276A7F7E2AC}"/>
          </ac:spMkLst>
        </pc:spChg>
        <pc:spChg chg="mod">
          <ac:chgData name="Luciano Moreira" userId="81b8fdb4-f0e4-4457-95d0-b1edd3d5525c" providerId="ADAL" clId="{F78C0BF0-F400-4D29-B8B0-7A2537860533}" dt="2022-01-18T10:57:34.918" v="16" actId="20577"/>
          <ac:spMkLst>
            <pc:docMk/>
            <pc:sldMk cId="4005972839" sldId="2134805934"/>
            <ac:spMk id="3" creationId="{1E3A46EC-452B-48BD-B544-7FC09E52BDE6}"/>
          </ac:spMkLst>
        </pc:spChg>
      </pc:sldChg>
      <pc:sldChg chg="modSp new mod">
        <pc:chgData name="Luciano Moreira" userId="81b8fdb4-f0e4-4457-95d0-b1edd3d5525c" providerId="ADAL" clId="{F78C0BF0-F400-4D29-B8B0-7A2537860533}" dt="2022-01-18T10:59:15.667" v="72" actId="20577"/>
        <pc:sldMkLst>
          <pc:docMk/>
          <pc:sldMk cId="1556619932" sldId="2134805962"/>
        </pc:sldMkLst>
        <pc:spChg chg="mod">
          <ac:chgData name="Luciano Moreira" userId="81b8fdb4-f0e4-4457-95d0-b1edd3d5525c" providerId="ADAL" clId="{F78C0BF0-F400-4D29-B8B0-7A2537860533}" dt="2022-01-18T10:59:15.667" v="72" actId="20577"/>
          <ac:spMkLst>
            <pc:docMk/>
            <pc:sldMk cId="1556619932" sldId="2134805962"/>
            <ac:spMk id="2" creationId="{D6A5376F-A0DD-4803-B586-4ABB49308E71}"/>
          </ac:spMkLst>
        </pc:spChg>
      </pc:sldChg>
      <pc:sldChg chg="new del">
        <pc:chgData name="Luciano Moreira" userId="81b8fdb4-f0e4-4457-95d0-b1edd3d5525c" providerId="ADAL" clId="{F78C0BF0-F400-4D29-B8B0-7A2537860533}" dt="2022-01-18T10:59:01.433" v="47" actId="680"/>
        <pc:sldMkLst>
          <pc:docMk/>
          <pc:sldMk cId="2189791309" sldId="2134805962"/>
        </pc:sldMkLst>
      </pc:sldChg>
      <pc:sldChg chg="new del">
        <pc:chgData name="Luciano Moreira" userId="81b8fdb4-f0e4-4457-95d0-b1edd3d5525c" providerId="ADAL" clId="{F78C0BF0-F400-4D29-B8B0-7A2537860533}" dt="2022-01-18T10:58:49.439" v="45" actId="680"/>
        <pc:sldMkLst>
          <pc:docMk/>
          <pc:sldMk cId="2406013158" sldId="2134805962"/>
        </pc:sldMkLst>
      </pc:sldChg>
      <pc:sldChg chg="new del">
        <pc:chgData name="Luciano Moreira" userId="81b8fdb4-f0e4-4457-95d0-b1edd3d5525c" providerId="ADAL" clId="{F78C0BF0-F400-4D29-B8B0-7A2537860533}" dt="2022-01-18T10:58:38.494" v="43" actId="2696"/>
        <pc:sldMkLst>
          <pc:docMk/>
          <pc:sldMk cId="3722431540" sldId="2134805962"/>
        </pc:sldMkLst>
      </pc:sldChg>
      <pc:sldChg chg="new del">
        <pc:chgData name="Luciano Moreira" userId="81b8fdb4-f0e4-4457-95d0-b1edd3d5525c" providerId="ADAL" clId="{F78C0BF0-F400-4D29-B8B0-7A2537860533}" dt="2022-01-18T11:02:59.205" v="76" actId="47"/>
        <pc:sldMkLst>
          <pc:docMk/>
          <pc:sldMk cId="3469456625" sldId="2134805963"/>
        </pc:sldMkLst>
      </pc:sldChg>
      <pc:sldChg chg="addSp new">
        <pc:chgData name="Luciano Moreira" userId="81b8fdb4-f0e4-4457-95d0-b1edd3d5525c" providerId="ADAL" clId="{F78C0BF0-F400-4D29-B8B0-7A2537860533}" dt="2022-01-18T11:01:43.248" v="75"/>
        <pc:sldMkLst>
          <pc:docMk/>
          <pc:sldMk cId="475112813" sldId="2134805964"/>
        </pc:sldMkLst>
        <pc:picChg chg="add">
          <ac:chgData name="Luciano Moreira" userId="81b8fdb4-f0e4-4457-95d0-b1edd3d5525c" providerId="ADAL" clId="{F78C0BF0-F400-4D29-B8B0-7A2537860533}" dt="2022-01-18T11:01:43.248" v="75"/>
          <ac:picMkLst>
            <pc:docMk/>
            <pc:sldMk cId="475112813" sldId="2134805964"/>
            <ac:picMk id="3074" creationId="{09C83576-C39F-4DCC-AFF6-18108B95D47E}"/>
          </ac:picMkLst>
        </pc:picChg>
      </pc:sldChg>
      <pc:sldChg chg="new">
        <pc:chgData name="Luciano Moreira" userId="81b8fdb4-f0e4-4457-95d0-b1edd3d5525c" providerId="ADAL" clId="{F78C0BF0-F400-4D29-B8B0-7A2537860533}" dt="2022-01-18T11:03:11.507" v="77" actId="680"/>
        <pc:sldMkLst>
          <pc:docMk/>
          <pc:sldMk cId="3629685351" sldId="2134805965"/>
        </pc:sldMkLst>
      </pc:sldChg>
      <pc:sldChg chg="modSp new mod ord">
        <pc:chgData name="Luciano Moreira" userId="81b8fdb4-f0e4-4457-95d0-b1edd3d5525c" providerId="ADAL" clId="{F78C0BF0-F400-4D29-B8B0-7A2537860533}" dt="2022-01-18T11:03:39.028" v="118"/>
        <pc:sldMkLst>
          <pc:docMk/>
          <pc:sldMk cId="4108420390" sldId="2134805966"/>
        </pc:sldMkLst>
        <pc:spChg chg="mod">
          <ac:chgData name="Luciano Moreira" userId="81b8fdb4-f0e4-4457-95d0-b1edd3d5525c" providerId="ADAL" clId="{F78C0BF0-F400-4D29-B8B0-7A2537860533}" dt="2022-01-18T11:03:36.547" v="116" actId="5793"/>
          <ac:spMkLst>
            <pc:docMk/>
            <pc:sldMk cId="4108420390" sldId="2134805966"/>
            <ac:spMk id="3" creationId="{7F7BA38C-0B4E-42CA-9731-232C90993BE3}"/>
          </ac:spMkLst>
        </pc:spChg>
      </pc:sldChg>
      <pc:sldMasterChg chg="delSldLayout">
        <pc:chgData name="Luciano Moreira" userId="81b8fdb4-f0e4-4457-95d0-b1edd3d5525c" providerId="ADAL" clId="{F78C0BF0-F400-4D29-B8B0-7A2537860533}" dt="2022-01-18T10:58:29.578" v="41" actId="47"/>
        <pc:sldMasterMkLst>
          <pc:docMk/>
          <pc:sldMasterMk cId="2051760496" sldId="2147483948"/>
        </pc:sldMasterMkLst>
        <pc:sldLayoutChg chg="del">
          <pc:chgData name="Luciano Moreira" userId="81b8fdb4-f0e4-4457-95d0-b1edd3d5525c" providerId="ADAL" clId="{F78C0BF0-F400-4D29-B8B0-7A2537860533}" dt="2022-01-18T10:58:29.578" v="41" actId="47"/>
          <pc:sldLayoutMkLst>
            <pc:docMk/>
            <pc:sldMasterMk cId="2051760496" sldId="2147483948"/>
            <pc:sldLayoutMk cId="4233416144" sldId="214748397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D273FA-9F8A-445F-93A8-6C9F3FE782E4}" type="datetimeFigureOut">
              <a:rPr lang="en-US" smtClean="0"/>
              <a:t>6/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A1EED5-3C8F-42DA-A5D6-86AB94B24481}" type="slidenum">
              <a:rPr lang="en-US" smtClean="0"/>
              <a:t>‹#›</a:t>
            </a:fld>
            <a:endParaRPr lang="en-US"/>
          </a:p>
        </p:txBody>
      </p:sp>
    </p:spTree>
    <p:extLst>
      <p:ext uri="{BB962C8B-B14F-4D97-AF65-F5344CB8AC3E}">
        <p14:creationId xmlns:p14="http://schemas.microsoft.com/office/powerpoint/2010/main" val="11975736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cosmos-db/cosmosdb-monitor-resource-log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azure-monitor/reference/tables/cdbpartitionkeystatistic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A1EED5-3C8F-42DA-A5D6-86AB94B244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234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0AAF18-C0F9-BA49-87E5-57AD85352AAF}" type="slidenum">
              <a:rPr lang="en-US" smtClean="0"/>
              <a:t>15</a:t>
            </a:fld>
            <a:endParaRPr lang="en-US"/>
          </a:p>
        </p:txBody>
      </p:sp>
    </p:spTree>
    <p:extLst>
      <p:ext uri="{BB962C8B-B14F-4D97-AF65-F5344CB8AC3E}">
        <p14:creationId xmlns:p14="http://schemas.microsoft.com/office/powerpoint/2010/main" val="3177786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endParaRPr lang="en-US" dirty="0">
              <a:effectLst/>
            </a:endParaRPr>
          </a:p>
        </p:txBody>
      </p:sp>
      <p:sp>
        <p:nvSpPr>
          <p:cNvPr id="4" name="Slide Number Placeholder 3"/>
          <p:cNvSpPr>
            <a:spLocks noGrp="1"/>
          </p:cNvSpPr>
          <p:nvPr>
            <p:ph type="sldNum" sz="quarter" idx="5"/>
          </p:nvPr>
        </p:nvSpPr>
        <p:spPr/>
        <p:txBody>
          <a:bodyPr/>
          <a:lstStyle/>
          <a:p>
            <a:fld id="{EAA1EED5-3C8F-42DA-A5D6-86AB94B24481}" type="slidenum">
              <a:rPr lang="en-US" smtClean="0"/>
              <a:t>17</a:t>
            </a:fld>
            <a:endParaRPr lang="en-US"/>
          </a:p>
        </p:txBody>
      </p:sp>
    </p:spTree>
    <p:extLst>
      <p:ext uri="{BB962C8B-B14F-4D97-AF65-F5344CB8AC3E}">
        <p14:creationId xmlns:p14="http://schemas.microsoft.com/office/powerpoint/2010/main" val="1052422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EAA1EED5-3C8F-42DA-A5D6-86AB94B24481}" type="slidenum">
              <a:rPr lang="en-US" smtClean="0"/>
              <a:t>18</a:t>
            </a:fld>
            <a:endParaRPr lang="en-US"/>
          </a:p>
        </p:txBody>
      </p:sp>
    </p:spTree>
    <p:extLst>
      <p:ext uri="{BB962C8B-B14F-4D97-AF65-F5344CB8AC3E}">
        <p14:creationId xmlns:p14="http://schemas.microsoft.com/office/powerpoint/2010/main" val="1101892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endParaRPr lang="en-US" dirty="0">
              <a:effectLst/>
            </a:endParaRPr>
          </a:p>
        </p:txBody>
      </p:sp>
      <p:sp>
        <p:nvSpPr>
          <p:cNvPr id="4" name="Slide Number Placeholder 3"/>
          <p:cNvSpPr>
            <a:spLocks noGrp="1"/>
          </p:cNvSpPr>
          <p:nvPr>
            <p:ph type="sldNum" sz="quarter" idx="5"/>
          </p:nvPr>
        </p:nvSpPr>
        <p:spPr/>
        <p:txBody>
          <a:bodyPr/>
          <a:lstStyle/>
          <a:p>
            <a:fld id="{EAA1EED5-3C8F-42DA-A5D6-86AB94B24481}" type="slidenum">
              <a:rPr lang="en-US" smtClean="0"/>
              <a:t>19</a:t>
            </a:fld>
            <a:endParaRPr lang="en-US"/>
          </a:p>
        </p:txBody>
      </p:sp>
    </p:spTree>
    <p:extLst>
      <p:ext uri="{BB962C8B-B14F-4D97-AF65-F5344CB8AC3E}">
        <p14:creationId xmlns:p14="http://schemas.microsoft.com/office/powerpoint/2010/main" val="3241767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err="1">
                <a:effectLst/>
              </a:rPr>
              <a:t>CDBPartitionKeyRUConsumption</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CollectionName</a:t>
            </a:r>
            <a:r>
              <a:rPr lang="en-US" dirty="0">
                <a:effectLst/>
              </a:rPr>
              <a:t> == "</a:t>
            </a:r>
            <a:r>
              <a:rPr lang="en-US" dirty="0" err="1">
                <a:effectLst/>
              </a:rPr>
              <a:t>HotPartition</a:t>
            </a:r>
            <a:r>
              <a:rPr lang="en-US" dirty="0">
                <a:effectLst/>
              </a:rPr>
              <a:t>"</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gt;= </a:t>
            </a:r>
            <a:r>
              <a:rPr lang="en-US" dirty="0" err="1">
                <a:effectLst/>
              </a:rPr>
              <a:t>todatetime</a:t>
            </a:r>
            <a:r>
              <a:rPr lang="en-US" dirty="0">
                <a:effectLst/>
              </a:rPr>
              <a:t>("2022-05-17 11: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lt;= </a:t>
            </a:r>
            <a:r>
              <a:rPr lang="en-US" dirty="0" err="1">
                <a:effectLst/>
              </a:rPr>
              <a:t>todatetime</a:t>
            </a:r>
            <a:r>
              <a:rPr lang="en-US" dirty="0">
                <a:effectLst/>
              </a:rPr>
              <a:t>("2022-05-17 12: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OperationName</a:t>
            </a:r>
            <a:r>
              <a:rPr lang="en-US" dirty="0">
                <a:effectLst/>
              </a:rPr>
              <a:t> == "Create"</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PartitionKeyRangeId</a:t>
            </a:r>
            <a:r>
              <a:rPr lang="en-US" dirty="0">
                <a:effectLst/>
              </a:rPr>
              <a:t> != ""</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take 1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err="1">
                <a:effectLst/>
              </a:rPr>
              <a:t>CDBPartitionKeyRUConsumption</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gt;= </a:t>
            </a:r>
            <a:r>
              <a:rPr lang="en-US" dirty="0" err="1">
                <a:effectLst/>
              </a:rPr>
              <a:t>todatetime</a:t>
            </a:r>
            <a:r>
              <a:rPr lang="en-US" dirty="0">
                <a:effectLst/>
              </a:rPr>
              <a:t>("2022-05-17 11: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lt;= </a:t>
            </a:r>
            <a:r>
              <a:rPr lang="en-US" dirty="0" err="1">
                <a:effectLst/>
              </a:rPr>
              <a:t>todatetime</a:t>
            </a:r>
            <a:r>
              <a:rPr lang="en-US" dirty="0">
                <a:effectLst/>
              </a:rPr>
              <a:t>("2022-05-17 12: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CollectionName</a:t>
            </a:r>
            <a:r>
              <a:rPr lang="en-US" dirty="0">
                <a:effectLst/>
              </a:rPr>
              <a:t> == "</a:t>
            </a:r>
            <a:r>
              <a:rPr lang="en-US" dirty="0" err="1">
                <a:effectLst/>
              </a:rPr>
              <a:t>HotPartition</a:t>
            </a:r>
            <a:r>
              <a:rPr lang="en-US" dirty="0">
                <a:effectLst/>
              </a:rPr>
              <a:t>"</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PartitionKeyRangeId</a:t>
            </a:r>
            <a:r>
              <a:rPr lang="en-US" dirty="0">
                <a:effectLst/>
              </a:rPr>
              <a:t> != ""</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summarize </a:t>
            </a:r>
            <a:r>
              <a:rPr lang="en-US" dirty="0" err="1">
                <a:effectLst/>
              </a:rPr>
              <a:t>TotalRUs</a:t>
            </a:r>
            <a:r>
              <a:rPr lang="en-US" dirty="0">
                <a:effectLst/>
              </a:rPr>
              <a:t>=sum(</a:t>
            </a:r>
            <a:r>
              <a:rPr lang="en-US" dirty="0" err="1">
                <a:effectLst/>
              </a:rPr>
              <a:t>RequestCharge</a:t>
            </a:r>
            <a:r>
              <a:rPr lang="en-US" dirty="0">
                <a:effectLst/>
              </a:rPr>
              <a:t>) by </a:t>
            </a:r>
            <a:r>
              <a:rPr lang="en-US" dirty="0" err="1">
                <a:effectLst/>
              </a:rPr>
              <a:t>PartitionKeyRangeId</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order by </a:t>
            </a:r>
            <a:r>
              <a:rPr lang="en-US" dirty="0" err="1">
                <a:effectLst/>
              </a:rPr>
              <a:t>TotalRUs</a:t>
            </a:r>
            <a:r>
              <a:rPr lang="en-US" dirty="0">
                <a:effectLst/>
              </a:rPr>
              <a:t> desc </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err="1">
                <a:effectLst/>
              </a:rPr>
              <a:t>CDBPartitionKeyRUConsumption</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gt;= </a:t>
            </a:r>
            <a:r>
              <a:rPr lang="en-US" dirty="0" err="1">
                <a:effectLst/>
              </a:rPr>
              <a:t>todatetime</a:t>
            </a:r>
            <a:r>
              <a:rPr lang="en-US" dirty="0">
                <a:effectLst/>
              </a:rPr>
              <a:t>("2022-05-17 11: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TimeGenerated</a:t>
            </a:r>
            <a:r>
              <a:rPr lang="en-US" dirty="0">
                <a:effectLst/>
              </a:rPr>
              <a:t> &lt;= </a:t>
            </a:r>
            <a:r>
              <a:rPr lang="en-US" dirty="0" err="1">
                <a:effectLst/>
              </a:rPr>
              <a:t>todatetime</a:t>
            </a:r>
            <a:r>
              <a:rPr lang="en-US" dirty="0">
                <a:effectLst/>
              </a:rPr>
              <a:t>("2022-05-17 12:00")</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CollectionName</a:t>
            </a:r>
            <a:r>
              <a:rPr lang="en-US" dirty="0">
                <a:effectLst/>
              </a:rPr>
              <a:t> == "</a:t>
            </a:r>
            <a:r>
              <a:rPr lang="en-US" dirty="0" err="1">
                <a:effectLst/>
              </a:rPr>
              <a:t>HotPartition</a:t>
            </a:r>
            <a:r>
              <a:rPr lang="en-US" dirty="0">
                <a:effectLst/>
              </a:rPr>
              <a:t>"</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where </a:t>
            </a:r>
            <a:r>
              <a:rPr lang="en-US" dirty="0" err="1">
                <a:effectLst/>
              </a:rPr>
              <a:t>PartitionKeyRangeId</a:t>
            </a:r>
            <a:r>
              <a:rPr lang="en-US" dirty="0">
                <a:effectLst/>
              </a:rPr>
              <a:t> == 2</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summarize sum(</a:t>
            </a:r>
            <a:r>
              <a:rPr lang="en-US" dirty="0" err="1">
                <a:effectLst/>
              </a:rPr>
              <a:t>RequestCharge</a:t>
            </a:r>
            <a:r>
              <a:rPr lang="en-US" dirty="0">
                <a:effectLst/>
              </a:rPr>
              <a:t>) by </a:t>
            </a:r>
            <a:r>
              <a:rPr lang="en-US" dirty="0" err="1">
                <a:effectLst/>
              </a:rPr>
              <a:t>PartitionKey</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sort by </a:t>
            </a:r>
            <a:r>
              <a:rPr lang="en-US" dirty="0" err="1">
                <a:effectLst/>
              </a:rPr>
              <a:t>sum_RequestCharge</a:t>
            </a:r>
            <a:r>
              <a:rPr lang="en-US" dirty="0">
                <a:effectLst/>
              </a:rPr>
              <a:t> desc </a:t>
            </a: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effectLst/>
              </a:rPr>
              <a:t>| take 10;</a:t>
            </a:r>
            <a:br>
              <a:rPr lang="en-US" dirty="0">
                <a:effectLst/>
              </a:rPr>
            </a:b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hlinkClick r:id="rId3"/>
              </a:rPr>
              <a:t>Monitor Azure Cosmos DB data by using Azure Diagnostic settings | Microsoft Docs</a:t>
            </a:r>
            <a:endParaRPr lang="en-US" dirty="0">
              <a:effectLst/>
            </a:endParaRPr>
          </a:p>
          <a:p>
            <a:pPr marL="0" marR="0" indent="0" algn="l">
              <a:spcBef>
                <a:spcPts val="0"/>
              </a:spcBef>
              <a:spcAft>
                <a:spcPts val="0"/>
              </a:spcAft>
              <a:tabLst>
                <a:tab pos="581660" algn="l"/>
                <a:tab pos="1163320" algn="l"/>
                <a:tab pos="1744980" algn="l"/>
                <a:tab pos="2326640" algn="l"/>
                <a:tab pos="2908300" algn="l"/>
                <a:tab pos="3489960" algn="l"/>
                <a:tab pos="4071620" algn="l"/>
                <a:tab pos="4653280" algn="l"/>
                <a:tab pos="5234940" algn="l"/>
                <a:tab pos="5816600" algn="l"/>
                <a:tab pos="6398260" algn="l"/>
                <a:tab pos="7561580" algn="l"/>
                <a:tab pos="8143240" algn="l"/>
                <a:tab pos="8724900" algn="l"/>
                <a:tab pos="9306560" algn="l"/>
              </a:tabLst>
            </a:pPr>
            <a:r>
              <a:rPr lang="en-US" dirty="0">
                <a:hlinkClick r:id="rId4"/>
              </a:rPr>
              <a:t>Azure Monitor Logs reference - </a:t>
            </a:r>
            <a:r>
              <a:rPr lang="en-US" dirty="0" err="1">
                <a:hlinkClick r:id="rId4"/>
              </a:rPr>
              <a:t>CDBPartitionKeyStatistics</a:t>
            </a:r>
            <a:r>
              <a:rPr lang="en-US" dirty="0">
                <a:hlinkClick r:id="rId4"/>
              </a:rPr>
              <a:t> | Microsoft Docs</a:t>
            </a:r>
            <a:endParaRPr lang="en-US" dirty="0">
              <a:effectLst/>
            </a:endParaRPr>
          </a:p>
        </p:txBody>
      </p:sp>
      <p:sp>
        <p:nvSpPr>
          <p:cNvPr id="4" name="Slide Number Placeholder 3"/>
          <p:cNvSpPr>
            <a:spLocks noGrp="1"/>
          </p:cNvSpPr>
          <p:nvPr>
            <p:ph type="sldNum" sz="quarter" idx="5"/>
          </p:nvPr>
        </p:nvSpPr>
        <p:spPr/>
        <p:txBody>
          <a:bodyPr/>
          <a:lstStyle/>
          <a:p>
            <a:fld id="{EAA1EED5-3C8F-42DA-A5D6-86AB94B24481}" type="slidenum">
              <a:rPr lang="en-US" smtClean="0"/>
              <a:t>20</a:t>
            </a:fld>
            <a:endParaRPr lang="en-US"/>
          </a:p>
        </p:txBody>
      </p:sp>
    </p:spTree>
    <p:extLst>
      <p:ext uri="{BB962C8B-B14F-4D97-AF65-F5344CB8AC3E}">
        <p14:creationId xmlns:p14="http://schemas.microsoft.com/office/powerpoint/2010/main" val="2093537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A1EED5-3C8F-42DA-A5D6-86AB94B24481}" type="slidenum">
              <a:rPr lang="en-US" smtClean="0"/>
              <a:t>21</a:t>
            </a:fld>
            <a:endParaRPr lang="en-US"/>
          </a:p>
        </p:txBody>
      </p:sp>
    </p:spTree>
    <p:extLst>
      <p:ext uri="{BB962C8B-B14F-4D97-AF65-F5344CB8AC3E}">
        <p14:creationId xmlns:p14="http://schemas.microsoft.com/office/powerpoint/2010/main" val="3749975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A1EED5-3C8F-42DA-A5D6-86AB94B24481}" type="slidenum">
              <a:rPr lang="en-US" smtClean="0"/>
              <a:t>26</a:t>
            </a:fld>
            <a:endParaRPr lang="en-US"/>
          </a:p>
        </p:txBody>
      </p:sp>
    </p:spTree>
    <p:extLst>
      <p:ext uri="{BB962C8B-B14F-4D97-AF65-F5344CB8AC3E}">
        <p14:creationId xmlns:p14="http://schemas.microsoft.com/office/powerpoint/2010/main" val="3332293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A1EED5-3C8F-42DA-A5D6-86AB94B24481}" type="slidenum">
              <a:rPr lang="en-US" smtClean="0"/>
              <a:t>27</a:t>
            </a:fld>
            <a:endParaRPr lang="en-US"/>
          </a:p>
        </p:txBody>
      </p:sp>
    </p:spTree>
    <p:extLst>
      <p:ext uri="{BB962C8B-B14F-4D97-AF65-F5344CB8AC3E}">
        <p14:creationId xmlns:p14="http://schemas.microsoft.com/office/powerpoint/2010/main" val="2242659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A1EED5-3C8F-42DA-A5D6-86AB94B24481}" type="slidenum">
              <a:rPr lang="en-US" smtClean="0"/>
              <a:t>4</a:t>
            </a:fld>
            <a:endParaRPr lang="en-US"/>
          </a:p>
        </p:txBody>
      </p:sp>
    </p:spTree>
    <p:extLst>
      <p:ext uri="{BB962C8B-B14F-4D97-AF65-F5344CB8AC3E}">
        <p14:creationId xmlns:p14="http://schemas.microsoft.com/office/powerpoint/2010/main" val="1460756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0AAF18-C0F9-BA49-87E5-57AD85352AAF}" type="slidenum">
              <a:rPr lang="en-US" smtClean="0"/>
              <a:t>5</a:t>
            </a:fld>
            <a:endParaRPr lang="en-US"/>
          </a:p>
        </p:txBody>
      </p:sp>
    </p:spTree>
    <p:extLst>
      <p:ext uri="{BB962C8B-B14F-4D97-AF65-F5344CB8AC3E}">
        <p14:creationId xmlns:p14="http://schemas.microsoft.com/office/powerpoint/2010/main" val="3041740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Azure/azure-cosmos-dotnet-v3/tree/master/Microsoft.Azure.Cosmos/src/Routing</a:t>
            </a:r>
          </a:p>
        </p:txBody>
      </p:sp>
      <p:sp>
        <p:nvSpPr>
          <p:cNvPr id="4" name="Slide Number Placeholder 3"/>
          <p:cNvSpPr>
            <a:spLocks noGrp="1"/>
          </p:cNvSpPr>
          <p:nvPr>
            <p:ph type="sldNum" sz="quarter" idx="5"/>
          </p:nvPr>
        </p:nvSpPr>
        <p:spPr/>
        <p:txBody>
          <a:bodyPr/>
          <a:lstStyle/>
          <a:p>
            <a:fld id="{4F0AAF18-C0F9-BA49-87E5-57AD85352AAF}" type="slidenum">
              <a:rPr lang="en-US" smtClean="0"/>
              <a:t>7</a:t>
            </a:fld>
            <a:endParaRPr lang="en-US"/>
          </a:p>
        </p:txBody>
      </p:sp>
    </p:spTree>
    <p:extLst>
      <p:ext uri="{BB962C8B-B14F-4D97-AF65-F5344CB8AC3E}">
        <p14:creationId xmlns:p14="http://schemas.microsoft.com/office/powerpoint/2010/main" val="2735765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4F0AAF18-C0F9-BA49-87E5-57AD85352AAF}" type="slidenum">
              <a:rPr lang="en-US" smtClean="0"/>
              <a:t>8</a:t>
            </a:fld>
            <a:endParaRPr lang="en-US"/>
          </a:p>
        </p:txBody>
      </p:sp>
    </p:spTree>
    <p:extLst>
      <p:ext uri="{BB962C8B-B14F-4D97-AF65-F5344CB8AC3E}">
        <p14:creationId xmlns:p14="http://schemas.microsoft.com/office/powerpoint/2010/main" val="3713268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fld id="{4F0AAF18-C0F9-BA49-87E5-57AD85352AAF}" type="slidenum">
              <a:rPr lang="en-US" smtClean="0"/>
              <a:t>9</a:t>
            </a:fld>
            <a:endParaRPr lang="en-US"/>
          </a:p>
        </p:txBody>
      </p:sp>
    </p:spTree>
    <p:extLst>
      <p:ext uri="{BB962C8B-B14F-4D97-AF65-F5344CB8AC3E}">
        <p14:creationId xmlns:p14="http://schemas.microsoft.com/office/powerpoint/2010/main" val="945038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en.wikipedia.org/wiki/Consistent_hashing</a:t>
            </a:r>
          </a:p>
        </p:txBody>
      </p:sp>
      <p:sp>
        <p:nvSpPr>
          <p:cNvPr id="4" name="Slide Number Placeholder 3"/>
          <p:cNvSpPr>
            <a:spLocks noGrp="1"/>
          </p:cNvSpPr>
          <p:nvPr>
            <p:ph type="sldNum" sz="quarter" idx="5"/>
          </p:nvPr>
        </p:nvSpPr>
        <p:spPr/>
        <p:txBody>
          <a:bodyPr/>
          <a:lstStyle/>
          <a:p>
            <a:fld id="{4F0AAF18-C0F9-BA49-87E5-57AD85352AAF}" type="slidenum">
              <a:rPr lang="en-US" smtClean="0"/>
              <a:t>12</a:t>
            </a:fld>
            <a:endParaRPr lang="en-US"/>
          </a:p>
        </p:txBody>
      </p:sp>
    </p:spTree>
    <p:extLst>
      <p:ext uri="{BB962C8B-B14F-4D97-AF65-F5344CB8AC3E}">
        <p14:creationId xmlns:p14="http://schemas.microsoft.com/office/powerpoint/2010/main" val="1992098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0AAF18-C0F9-BA49-87E5-57AD85352AAF}" type="slidenum">
              <a:rPr lang="en-US" smtClean="0"/>
              <a:t>13</a:t>
            </a:fld>
            <a:endParaRPr lang="en-US"/>
          </a:p>
        </p:txBody>
      </p:sp>
    </p:spTree>
    <p:extLst>
      <p:ext uri="{BB962C8B-B14F-4D97-AF65-F5344CB8AC3E}">
        <p14:creationId xmlns:p14="http://schemas.microsoft.com/office/powerpoint/2010/main" val="3594934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0AAF18-C0F9-BA49-87E5-57AD85352AAF}" type="slidenum">
              <a:rPr lang="en-US" smtClean="0"/>
              <a:t>14</a:t>
            </a:fld>
            <a:endParaRPr lang="en-US"/>
          </a:p>
        </p:txBody>
      </p:sp>
    </p:spTree>
    <p:extLst>
      <p:ext uri="{BB962C8B-B14F-4D97-AF65-F5344CB8AC3E}">
        <p14:creationId xmlns:p14="http://schemas.microsoft.com/office/powerpoint/2010/main" val="30913079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3.xml"/><Relationship Id="rId5" Type="http://schemas.openxmlformats.org/officeDocument/2006/relationships/image" Target="../media/image34.svg"/><Relationship Id="rId4" Type="http://schemas.openxmlformats.org/officeDocument/2006/relationships/image" Target="../media/image33.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tif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tif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5.xml"/><Relationship Id="rId4" Type="http://schemas.openxmlformats.org/officeDocument/2006/relationships/image" Target="../media/image40.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5.xml"/><Relationship Id="rId4" Type="http://schemas.openxmlformats.org/officeDocument/2006/relationships/image" Target="../media/image44.jpe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image" Target="../media/image10.wmf"/><Relationship Id="rId4" Type="http://schemas.openxmlformats.org/officeDocument/2006/relationships/image" Target="../media/image9.w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7.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898051"/>
            <a:ext cx="5426345" cy="2387600"/>
          </a:xfrm>
        </p:spPr>
        <p:txBody>
          <a:bodyPr rIns="0" anchor="b"/>
          <a:lstStyle>
            <a:lvl1pPr algn="l">
              <a:defRPr sz="5995">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406614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1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898051"/>
            <a:ext cx="5426345" cy="2387600"/>
          </a:xfrm>
        </p:spPr>
        <p:txBody>
          <a:bodyPr rIns="0" anchor="b"/>
          <a:lstStyle>
            <a:lvl1pPr algn="l">
              <a:defRPr sz="5996">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98110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611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D5A2861-EA6E-473E-9E1C-F7D30A9F7900}"/>
              </a:ext>
            </a:extLst>
          </p:cNvPr>
          <p:cNvSpPr>
            <a:spLocks noGrp="1"/>
          </p:cNvSpPr>
          <p:nvPr>
            <p:ph type="body" sz="quarter" idx="16"/>
          </p:nvPr>
        </p:nvSpPr>
        <p:spPr>
          <a:xfrm>
            <a:off x="809790" y="4247606"/>
            <a:ext cx="2468880" cy="307777"/>
          </a:xfrm>
        </p:spPr>
        <p:txBody>
          <a:bodyPr/>
          <a:lstStyle>
            <a:lvl1pPr marL="0" indent="0" algn="ctr">
              <a:spcBef>
                <a:spcPts val="2400"/>
              </a:spcBef>
              <a:spcAft>
                <a:spcPts val="600"/>
              </a:spcAft>
              <a:buNone/>
              <a:defRPr sz="2000" b="0">
                <a:solidFill>
                  <a:schemeClr val="accent2"/>
                </a:solidFill>
                <a:latin typeface="+mn-lt"/>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3514678"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6219566"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4" name="Text Placeholder 3">
            <a:extLst>
              <a:ext uri="{FF2B5EF4-FFF2-40B4-BE49-F238E27FC236}">
                <a16:creationId xmlns:a16="http://schemas.microsoft.com/office/drawing/2014/main" id="{5415B8D4-14BD-43DC-957C-578C933ED210}"/>
              </a:ext>
            </a:extLst>
          </p:cNvPr>
          <p:cNvSpPr>
            <a:spLocks noGrp="1"/>
          </p:cNvSpPr>
          <p:nvPr>
            <p:ph type="body" sz="quarter" idx="19"/>
          </p:nvPr>
        </p:nvSpPr>
        <p:spPr>
          <a:xfrm>
            <a:off x="8924453" y="4247606"/>
            <a:ext cx="2468880" cy="307777"/>
          </a:xfrm>
        </p:spPr>
        <p:txBody>
          <a:bodyPr/>
          <a:lstStyle>
            <a:lvl1pPr marL="0" indent="0" algn="ctr">
              <a:spcBef>
                <a:spcPts val="2400"/>
              </a:spcBef>
              <a:spcAft>
                <a:spcPts val="600"/>
              </a:spcAft>
              <a:buNone/>
              <a:defRPr lang="en-US" sz="2000" b="0" kern="1200" spc="0" baseline="0" dirty="0">
                <a:solidFill>
                  <a:schemeClr val="accent2"/>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lvl1pPr algn="ctr">
              <a:defRPr/>
            </a:lvl1pPr>
          </a:lstStyle>
          <a:p>
            <a:r>
              <a:rPr lang="en-US"/>
              <a:t>Click to edit Master title style</a:t>
            </a:r>
          </a:p>
        </p:txBody>
      </p:sp>
      <p:sp>
        <p:nvSpPr>
          <p:cNvPr id="8" name="Text Placeholder 6">
            <a:extLst>
              <a:ext uri="{FF2B5EF4-FFF2-40B4-BE49-F238E27FC236}">
                <a16:creationId xmlns:a16="http://schemas.microsoft.com/office/drawing/2014/main" id="{C15329BE-B9CF-4CF3-AEB8-DB4AB492437B}"/>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5787628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guide id="31" orient="horz" pos="2160">
          <p15:clr>
            <a:srgbClr val="FBAE40"/>
          </p15:clr>
        </p15:guide>
        <p15:guide id="3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30589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367631" y="4940846"/>
            <a:ext cx="6904026" cy="1547040"/>
          </a:xfrm>
          <a:solidFill>
            <a:schemeClr val="bg1">
              <a:alpha val="85000"/>
            </a:schemeClr>
          </a:solidFill>
        </p:spPr>
        <p:txBody>
          <a:bodyPr lIns="365760" tIns="365760" rIns="365760" bIns="365760">
            <a:noAutofit/>
          </a:bodyPr>
          <a:lstStyle>
            <a:lvl1pPr marL="0" indent="0">
              <a:buNone/>
              <a:defRPr sz="24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560210" y="3767209"/>
            <a:ext cx="914400" cy="914400"/>
          </a:xfrm>
          <a:solidFill>
            <a:schemeClr val="tx1"/>
          </a:solidFill>
        </p:spPr>
        <p:txBody>
          <a:bodyPr>
            <a:noAutofit/>
          </a:bodyPr>
          <a:lstStyle>
            <a:lvl1pPr>
              <a:defRPr sz="1000">
                <a:solidFill>
                  <a:schemeClr val="bg2"/>
                </a:solidFill>
              </a:defRPr>
            </a:lvl1pPr>
          </a:lstStyle>
          <a:p>
            <a:endParaRPr lang="en-US"/>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231916623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8063407"/>
            <a:ext cx="3912124" cy="1409617"/>
          </a:xfrm>
        </p:spPr>
        <p:txBody>
          <a:bodyPr/>
          <a:lstStyle>
            <a:lvl1pPr marL="0" indent="0">
              <a:spcBef>
                <a:spcPts val="600"/>
              </a:spcBef>
              <a:spcAft>
                <a:spcPts val="600"/>
              </a:spcAft>
              <a:buNone/>
              <a:defRPr sz="1400">
                <a:solidFill>
                  <a:schemeClr val="tx1"/>
                </a:solidFill>
              </a:defRPr>
            </a:lvl1pPr>
            <a:lvl2pPr marL="285750" indent="-2857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177538" y="7117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803B970A-F742-4A2B-B869-5B66C55A6C17}"/>
              </a:ext>
            </a:extLst>
          </p:cNvPr>
          <p:cNvSpPr>
            <a:spLocks noGrp="1"/>
          </p:cNvSpPr>
          <p:nvPr>
            <p:ph type="title"/>
          </p:nvPr>
        </p:nvSpPr>
        <p:spPr>
          <a:xfrm>
            <a:off x="655815" y="-2774873"/>
            <a:ext cx="11018520" cy="553998"/>
          </a:xfrm>
        </p:spPr>
        <p:txBody>
          <a:bodyPr/>
          <a:lstStyle/>
          <a:p>
            <a:r>
              <a:rPr lang="en-US"/>
              <a:t>Click to edit Master title style</a:t>
            </a:r>
          </a:p>
        </p:txBody>
      </p:sp>
    </p:spTree>
    <p:extLst>
      <p:ext uri="{BB962C8B-B14F-4D97-AF65-F5344CB8AC3E}">
        <p14:creationId xmlns:p14="http://schemas.microsoft.com/office/powerpoint/2010/main" val="453133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5091814" y="0"/>
            <a:ext cx="7100186" cy="6858000"/>
          </a:xfrm>
        </p:spPr>
        <p:txBody>
          <a:bodyPr/>
          <a:lstStyle/>
          <a:p>
            <a:endParaRPr lang="en-US"/>
          </a:p>
        </p:txBody>
      </p:sp>
      <p:sp>
        <p:nvSpPr>
          <p:cNvPr id="2" name="Title 1">
            <a:extLst>
              <a:ext uri="{FF2B5EF4-FFF2-40B4-BE49-F238E27FC236}">
                <a16:creationId xmlns:a16="http://schemas.microsoft.com/office/drawing/2014/main" id="{E9474408-94D7-46A0-9A12-63641E881075}"/>
              </a:ext>
            </a:extLst>
          </p:cNvPr>
          <p:cNvSpPr>
            <a:spLocks noGrp="1"/>
          </p:cNvSpPr>
          <p:nvPr>
            <p:ph type="title"/>
          </p:nvPr>
        </p:nvSpPr>
        <p:spPr>
          <a:xfrm>
            <a:off x="560210" y="457200"/>
            <a:ext cx="4391073" cy="553998"/>
          </a:xfrm>
        </p:spPr>
        <p:txBody>
          <a:bodyPr/>
          <a:lstStyle/>
          <a:p>
            <a:r>
              <a:rPr lang="en-US"/>
              <a:t>Click to edit Master title style</a:t>
            </a:r>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2843707"/>
            <a:ext cx="3912124" cy="1409617"/>
          </a:xfrm>
        </p:spPr>
        <p:txBody>
          <a:bodyPr/>
          <a:lstStyle>
            <a:lvl1pPr marL="0" indent="0">
              <a:spcBef>
                <a:spcPts val="600"/>
              </a:spcBef>
              <a:spcAft>
                <a:spcPts val="600"/>
              </a:spcAft>
              <a:buNone/>
              <a:defRPr sz="1400">
                <a:solidFill>
                  <a:schemeClr val="tx1"/>
                </a:solidFill>
              </a:defRPr>
            </a:lvl1pPr>
            <a:lvl2pPr marL="171450" indent="-1714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091813" y="4831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560210" y="2129084"/>
            <a:ext cx="4058924" cy="276999"/>
          </a:xfrm>
        </p:spPr>
        <p:txBody>
          <a:bodyPr/>
          <a:lstStyle>
            <a:lvl1pPr marL="0" indent="0">
              <a:buNone/>
              <a:defRPr sz="18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10854385" y="389864"/>
            <a:ext cx="914400" cy="914400"/>
          </a:xfrm>
          <a:solidFill>
            <a:schemeClr val="tx1"/>
          </a:solidFill>
        </p:spPr>
        <p:txBody>
          <a:bodyPr>
            <a:noAutofit/>
          </a:bodyPr>
          <a:lstStyle>
            <a:lvl1pPr>
              <a:defRPr sz="1000">
                <a:solidFill>
                  <a:schemeClr val="bg2"/>
                </a:solidFill>
              </a:defRPr>
            </a:lvl1pPr>
          </a:lstStyle>
          <a:p>
            <a:endParaRPr lang="en-US"/>
          </a:p>
        </p:txBody>
      </p:sp>
    </p:spTree>
    <p:extLst>
      <p:ext uri="{BB962C8B-B14F-4D97-AF65-F5344CB8AC3E}">
        <p14:creationId xmlns:p14="http://schemas.microsoft.com/office/powerpoint/2010/main" val="31237814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EF1E1DD-9F15-41B7-8851-48B2B3463275}"/>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E9474408-94D7-46A0-9A12-63641E881075}"/>
              </a:ext>
            </a:extLst>
          </p:cNvPr>
          <p:cNvSpPr>
            <a:spLocks noGrp="1"/>
          </p:cNvSpPr>
          <p:nvPr>
            <p:ph type="title"/>
          </p:nvPr>
        </p:nvSpPr>
        <p:spPr>
          <a:xfrm>
            <a:off x="560210" y="457200"/>
            <a:ext cx="4391073" cy="553998"/>
          </a:xfrm>
        </p:spPr>
        <p:txBody>
          <a:bodyPr/>
          <a:lstStyle/>
          <a:p>
            <a:r>
              <a:rPr lang="en-US"/>
              <a:t>Click to edit Master title style</a:t>
            </a:r>
          </a:p>
        </p:txBody>
      </p:sp>
      <p:sp>
        <p:nvSpPr>
          <p:cNvPr id="19" name="Text Placeholder 17">
            <a:extLst>
              <a:ext uri="{FF2B5EF4-FFF2-40B4-BE49-F238E27FC236}">
                <a16:creationId xmlns:a16="http://schemas.microsoft.com/office/drawing/2014/main" id="{2BB92698-4116-4C56-A004-B45675E0D3D0}"/>
              </a:ext>
            </a:extLst>
          </p:cNvPr>
          <p:cNvSpPr>
            <a:spLocks noGrp="1"/>
          </p:cNvSpPr>
          <p:nvPr>
            <p:ph type="body" sz="quarter" idx="12"/>
          </p:nvPr>
        </p:nvSpPr>
        <p:spPr>
          <a:xfrm>
            <a:off x="560210" y="2843707"/>
            <a:ext cx="3912124" cy="1409617"/>
          </a:xfrm>
        </p:spPr>
        <p:txBody>
          <a:bodyPr/>
          <a:lstStyle>
            <a:lvl1pPr marL="0" indent="0">
              <a:spcBef>
                <a:spcPts val="600"/>
              </a:spcBef>
              <a:spcAft>
                <a:spcPts val="600"/>
              </a:spcAft>
              <a:buNone/>
              <a:defRPr sz="1400">
                <a:solidFill>
                  <a:schemeClr val="tx1"/>
                </a:solidFill>
              </a:defRPr>
            </a:lvl1pPr>
            <a:lvl2pPr marL="171450" indent="-171450">
              <a:spcBef>
                <a:spcPts val="600"/>
              </a:spcBef>
              <a:spcAft>
                <a:spcPts val="600"/>
              </a:spcAft>
              <a:buFont typeface="Arial" panose="020B0604020202020204" pitchFamily="34" charset="0"/>
              <a:buChar char="•"/>
              <a:defRPr sz="1400">
                <a:solidFill>
                  <a:schemeClr val="tx1"/>
                </a:solidFill>
              </a:defRPr>
            </a:lvl2pPr>
            <a:lvl3pPr marL="0" indent="0">
              <a:buNone/>
              <a:defRPr sz="1050">
                <a:solidFill>
                  <a:schemeClr val="tx1"/>
                </a:solidFill>
              </a:defRPr>
            </a:lvl3pPr>
            <a:lvl4pPr marL="0" indent="0">
              <a:spcBef>
                <a:spcPts val="1200"/>
              </a:spcBef>
              <a:buNone/>
              <a:defRPr lang="en-US" sz="1400" kern="0" cap="all" spc="200" baseline="0" dirty="0" smtClean="0">
                <a:solidFill>
                  <a:schemeClr val="accent2"/>
                </a:solidFill>
                <a:latin typeface="+mn-lt"/>
                <a:ea typeface="Segoe UI" pitchFamily="34" charset="0"/>
                <a:cs typeface="Segoe UI" pitchFamily="34" charset="0"/>
              </a:defRPr>
            </a:lvl4pPr>
            <a:lvl5pPr marL="0" indent="0">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E836E120-3AE1-4D08-A69C-27FD02D7C44A}"/>
              </a:ext>
            </a:extLst>
          </p:cNvPr>
          <p:cNvSpPr>
            <a:spLocks noGrp="1"/>
          </p:cNvSpPr>
          <p:nvPr>
            <p:ph type="body" sz="quarter" idx="13"/>
          </p:nvPr>
        </p:nvSpPr>
        <p:spPr>
          <a:xfrm>
            <a:off x="5091813" y="4831237"/>
            <a:ext cx="7104888" cy="2026763"/>
          </a:xfrm>
          <a:solidFill>
            <a:schemeClr val="bg2">
              <a:alpha val="86000"/>
            </a:schemeClr>
          </a:solidFill>
        </p:spPr>
        <p:txBody>
          <a:bodyPr lIns="182880" tIns="182880" rIns="182880" bIns="182880">
            <a:noAutofit/>
          </a:bodyPr>
          <a:lstStyle>
            <a:lvl1pPr marL="0" indent="0">
              <a:buNone/>
              <a:defRPr sz="1600"/>
            </a:lvl1pPr>
            <a:lvl2pPr marL="0" indent="0">
              <a:spcBef>
                <a:spcPts val="0"/>
              </a:spcBef>
              <a:buNone/>
              <a:defRPr sz="1600"/>
            </a:lvl2pPr>
            <a:lvl3pPr marL="0" indent="0">
              <a:buNone/>
              <a:defRPr sz="1050"/>
            </a:lvl3pPr>
            <a:lvl4pPr marL="0" indent="0">
              <a:spcBef>
                <a:spcPts val="1200"/>
              </a:spcBef>
              <a:buNone/>
              <a:defRPr sz="1000" cap="all" spc="200" baseline="0">
                <a:solidFill>
                  <a:schemeClr val="accent2"/>
                </a:solidFill>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7">
            <a:extLst>
              <a:ext uri="{FF2B5EF4-FFF2-40B4-BE49-F238E27FC236}">
                <a16:creationId xmlns:a16="http://schemas.microsoft.com/office/drawing/2014/main" id="{591FD79B-6DFC-4485-B4CC-3C1141E52CEA}"/>
              </a:ext>
            </a:extLst>
          </p:cNvPr>
          <p:cNvSpPr>
            <a:spLocks noGrp="1"/>
          </p:cNvSpPr>
          <p:nvPr>
            <p:ph type="body" sz="quarter" idx="14"/>
          </p:nvPr>
        </p:nvSpPr>
        <p:spPr>
          <a:xfrm>
            <a:off x="560210" y="2129084"/>
            <a:ext cx="4058924" cy="276999"/>
          </a:xfrm>
        </p:spPr>
        <p:txBody>
          <a:bodyPr/>
          <a:lstStyle>
            <a:lvl1pPr marL="0" indent="0">
              <a:buNone/>
              <a:defRPr sz="1800"/>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
        <p:nvSpPr>
          <p:cNvPr id="24" name="Picture Placeholder 23">
            <a:extLst>
              <a:ext uri="{FF2B5EF4-FFF2-40B4-BE49-F238E27FC236}">
                <a16:creationId xmlns:a16="http://schemas.microsoft.com/office/drawing/2014/main" id="{21FD2EEA-A52F-49D8-B660-E78E5E84D582}"/>
              </a:ext>
            </a:extLst>
          </p:cNvPr>
          <p:cNvSpPr>
            <a:spLocks noGrp="1"/>
          </p:cNvSpPr>
          <p:nvPr>
            <p:ph type="pic" sz="quarter" idx="15"/>
          </p:nvPr>
        </p:nvSpPr>
        <p:spPr>
          <a:xfrm>
            <a:off x="10854385" y="389864"/>
            <a:ext cx="914400" cy="914400"/>
          </a:xfrm>
          <a:solidFill>
            <a:schemeClr val="tx1"/>
          </a:solidFill>
        </p:spPr>
        <p:txBody>
          <a:bodyPr>
            <a:noAutofit/>
          </a:bodyPr>
          <a:lstStyle>
            <a:lvl1pPr>
              <a:defRPr sz="1000">
                <a:solidFill>
                  <a:schemeClr val="bg2"/>
                </a:solidFill>
              </a:defRPr>
            </a:lvl1pPr>
          </a:lstStyle>
          <a:p>
            <a:endParaRPr lang="en-US"/>
          </a:p>
        </p:txBody>
      </p:sp>
    </p:spTree>
    <p:extLst>
      <p:ext uri="{BB962C8B-B14F-4D97-AF65-F5344CB8AC3E}">
        <p14:creationId xmlns:p14="http://schemas.microsoft.com/office/powerpoint/2010/main" val="245501204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58" name="Picture Placeholder 57">
            <a:extLst>
              <a:ext uri="{FF2B5EF4-FFF2-40B4-BE49-F238E27FC236}">
                <a16:creationId xmlns:a16="http://schemas.microsoft.com/office/drawing/2014/main" id="{A18BD433-3CA8-4DD8-ADFC-0AC7A3267F84}"/>
              </a:ext>
            </a:extLst>
          </p:cNvPr>
          <p:cNvSpPr>
            <a:spLocks noGrp="1"/>
          </p:cNvSpPr>
          <p:nvPr>
            <p:ph type="pic" sz="quarter" idx="10"/>
          </p:nvPr>
        </p:nvSpPr>
        <p:spPr>
          <a:xfrm>
            <a:off x="2092749" y="1911459"/>
            <a:ext cx="7767688" cy="4489342"/>
          </a:xfrm>
          <a:solidFill>
            <a:schemeClr val="tx1"/>
          </a:solidFill>
        </p:spPr>
        <p:txBody>
          <a:bodyPr>
            <a:noAutofit/>
          </a:bodyPr>
          <a:lstStyle>
            <a:lvl1pPr>
              <a:defRPr sz="1600">
                <a:solidFill>
                  <a:schemeClr val="tx1"/>
                </a:solidFill>
              </a:defRPr>
            </a:lvl1pPr>
          </a:lstStyle>
          <a:p>
            <a:endParaRPr lang="en-US"/>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03" r="28506"/>
          <a:stretch/>
        </p:blipFill>
        <p:spPr>
          <a:xfrm>
            <a:off x="1450894" y="1400441"/>
            <a:ext cx="5628008" cy="5457559"/>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263"/>
          <a:stretch/>
        </p:blipFill>
        <p:spPr>
          <a:xfrm>
            <a:off x="6787300" y="1400441"/>
            <a:ext cx="3511782" cy="5457559"/>
          </a:xfrm>
          <a:prstGeom prst="rect">
            <a:avLst/>
          </a:prstGeom>
        </p:spPr>
      </p:pic>
      <p:sp>
        <p:nvSpPr>
          <p:cNvPr id="4" name="Title 3">
            <a:extLst>
              <a:ext uri="{FF2B5EF4-FFF2-40B4-BE49-F238E27FC236}">
                <a16:creationId xmlns:a16="http://schemas.microsoft.com/office/drawing/2014/main" id="{40A4D2FB-AE6D-4C5D-8BF8-A210E20F5377}"/>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17">
            <a:extLst>
              <a:ext uri="{FF2B5EF4-FFF2-40B4-BE49-F238E27FC236}">
                <a16:creationId xmlns:a16="http://schemas.microsoft.com/office/drawing/2014/main" id="{C01C356C-15FA-4CE6-8A02-8EBD7D150CE3}"/>
              </a:ext>
            </a:extLst>
          </p:cNvPr>
          <p:cNvSpPr>
            <a:spLocks noGrp="1"/>
          </p:cNvSpPr>
          <p:nvPr userDrawn="1">
            <p:ph type="body" sz="quarter" idx="14"/>
          </p:nvPr>
        </p:nvSpPr>
        <p:spPr>
          <a:xfrm>
            <a:off x="585216" y="1011198"/>
            <a:ext cx="11018519" cy="346262"/>
          </a:xfrm>
        </p:spPr>
        <p:txBody>
          <a:bodyPr/>
          <a:lstStyle>
            <a:lvl1pPr marL="0" indent="0" algn="ctr">
              <a:buNone/>
              <a:defRPr sz="1800">
                <a:solidFill>
                  <a:schemeClr val="accent2"/>
                </a:solidFill>
              </a:defRPr>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Tree>
    <p:extLst>
      <p:ext uri="{BB962C8B-B14F-4D97-AF65-F5344CB8AC3E}">
        <p14:creationId xmlns:p14="http://schemas.microsoft.com/office/powerpoint/2010/main" val="37855012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03" r="28506"/>
          <a:stretch/>
        </p:blipFill>
        <p:spPr>
          <a:xfrm>
            <a:off x="1450894" y="1400441"/>
            <a:ext cx="5628008" cy="5457559"/>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263"/>
          <a:stretch/>
        </p:blipFill>
        <p:spPr>
          <a:xfrm>
            <a:off x="6787300" y="1400441"/>
            <a:ext cx="3511782" cy="5457559"/>
          </a:xfrm>
          <a:prstGeom prst="rect">
            <a:avLst/>
          </a:prstGeom>
        </p:spPr>
      </p:pic>
      <p:sp>
        <p:nvSpPr>
          <p:cNvPr id="4" name="Title 3">
            <a:extLst>
              <a:ext uri="{FF2B5EF4-FFF2-40B4-BE49-F238E27FC236}">
                <a16:creationId xmlns:a16="http://schemas.microsoft.com/office/drawing/2014/main" id="{40A4D2FB-AE6D-4C5D-8BF8-A210E20F5377}"/>
              </a:ext>
            </a:extLst>
          </p:cNvPr>
          <p:cNvSpPr>
            <a:spLocks noGrp="1"/>
          </p:cNvSpPr>
          <p:nvPr userDrawn="1">
            <p:ph type="title"/>
          </p:nvPr>
        </p:nvSpPr>
        <p:spPr/>
        <p:txBody>
          <a:bodyPr/>
          <a:lstStyle>
            <a:lvl1pPr algn="ctr">
              <a:defRPr/>
            </a:lvl1pPr>
          </a:lstStyle>
          <a:p>
            <a:r>
              <a:rPr lang="en-US"/>
              <a:t>Click to edit Master title style</a:t>
            </a:r>
          </a:p>
        </p:txBody>
      </p:sp>
      <p:sp>
        <p:nvSpPr>
          <p:cNvPr id="11" name="Text Placeholder 17">
            <a:extLst>
              <a:ext uri="{FF2B5EF4-FFF2-40B4-BE49-F238E27FC236}">
                <a16:creationId xmlns:a16="http://schemas.microsoft.com/office/drawing/2014/main" id="{C01C356C-15FA-4CE6-8A02-8EBD7D150CE3}"/>
              </a:ext>
            </a:extLst>
          </p:cNvPr>
          <p:cNvSpPr>
            <a:spLocks noGrp="1"/>
          </p:cNvSpPr>
          <p:nvPr userDrawn="1">
            <p:ph type="body" sz="quarter" idx="14"/>
          </p:nvPr>
        </p:nvSpPr>
        <p:spPr>
          <a:xfrm>
            <a:off x="585216" y="1011198"/>
            <a:ext cx="11018519" cy="346262"/>
          </a:xfrm>
        </p:spPr>
        <p:txBody>
          <a:bodyPr/>
          <a:lstStyle>
            <a:lvl1pPr marL="0" indent="0" algn="ctr">
              <a:buNone/>
              <a:defRPr sz="1800">
                <a:solidFill>
                  <a:schemeClr val="accent2"/>
                </a:solidFill>
              </a:defRPr>
            </a:lvl1pPr>
            <a:lvl2pPr marL="0" indent="0">
              <a:buNone/>
              <a:defRPr sz="1050"/>
            </a:lvl2pPr>
            <a:lvl3pPr marL="0" indent="0">
              <a:buNone/>
              <a:defRPr sz="900"/>
            </a:lvl3pPr>
            <a:lvl4pPr marL="0" indent="0">
              <a:buNone/>
              <a:defRPr sz="800"/>
            </a:lvl4pPr>
            <a:lvl5pPr marL="0" indent="0">
              <a:buNone/>
              <a:defRPr sz="800"/>
            </a:lvl5pPr>
          </a:lstStyle>
          <a:p>
            <a:pPr lvl="0"/>
            <a:r>
              <a:rPr lang="en-US"/>
              <a:t>Click to edit Master text styles</a:t>
            </a:r>
          </a:p>
        </p:txBody>
      </p:sp>
    </p:spTree>
    <p:extLst>
      <p:ext uri="{BB962C8B-B14F-4D97-AF65-F5344CB8AC3E}">
        <p14:creationId xmlns:p14="http://schemas.microsoft.com/office/powerpoint/2010/main" val="284565929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ENTER">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lvl1pPr algn="ct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351378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1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8" y="0"/>
            <a:ext cx="6211835" cy="6858000"/>
          </a:xfrm>
          <a:prstGeom prst="rect">
            <a:avLst/>
          </a:prstGeom>
        </p:spPr>
      </p:pic>
      <p:sp>
        <p:nvSpPr>
          <p:cNvPr id="2" name="Title 1"/>
          <p:cNvSpPr>
            <a:spLocks noGrp="1"/>
          </p:cNvSpPr>
          <p:nvPr>
            <p:ph type="ctrTitle"/>
          </p:nvPr>
        </p:nvSpPr>
        <p:spPr>
          <a:xfrm>
            <a:off x="553823" y="1898051"/>
            <a:ext cx="5426345" cy="2387600"/>
          </a:xfrm>
        </p:spPr>
        <p:txBody>
          <a:bodyPr rIns="0" anchor="b"/>
          <a:lstStyle>
            <a:lvl1pPr algn="l">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4377726"/>
            <a:ext cx="5426345" cy="1387870"/>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3" y="547295"/>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0993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0959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76642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7365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ustainability All-Up Title">
    <p:bg>
      <p:bgPr>
        <a:solidFill>
          <a:srgbClr val="044C70"/>
        </a:solidFill>
        <a:effectLst/>
      </p:bgPr>
    </p:bg>
    <p:spTree>
      <p:nvGrpSpPr>
        <p:cNvPr id="1" name=""/>
        <p:cNvGrpSpPr/>
        <p:nvPr/>
      </p:nvGrpSpPr>
      <p:grpSpPr>
        <a:xfrm>
          <a:off x="0" y="0"/>
          <a:ext cx="0" cy="0"/>
          <a:chOff x="0" y="0"/>
          <a:chExt cx="0" cy="0"/>
        </a:xfrm>
      </p:grpSpPr>
      <p:pic>
        <p:nvPicPr>
          <p:cNvPr id="15" name="Picture 14" descr="A close up of a hillside next to a body of water&#10;&#10;Description automatically generated">
            <a:extLst>
              <a:ext uri="{FF2B5EF4-FFF2-40B4-BE49-F238E27FC236}">
                <a16:creationId xmlns:a16="http://schemas.microsoft.com/office/drawing/2014/main" id="{229344B6-4EE1-4014-A250-7E3ED54B23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402174" y="0"/>
            <a:ext cx="6789825"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4"/>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grpSp>
        <p:nvGrpSpPr>
          <p:cNvPr id="6" name="Group 5">
            <a:extLst>
              <a:ext uri="{FF2B5EF4-FFF2-40B4-BE49-F238E27FC236}">
                <a16:creationId xmlns:a16="http://schemas.microsoft.com/office/drawing/2014/main" id="{98E0423B-FB73-4FC1-9BB1-26E09E7C8369}"/>
              </a:ext>
            </a:extLst>
          </p:cNvPr>
          <p:cNvGrpSpPr/>
          <p:nvPr userDrawn="1"/>
        </p:nvGrpSpPr>
        <p:grpSpPr>
          <a:xfrm>
            <a:off x="11122116" y="5905266"/>
            <a:ext cx="612409" cy="613195"/>
            <a:chOff x="1232075" y="3299850"/>
            <a:chExt cx="612409" cy="613195"/>
          </a:xfrm>
        </p:grpSpPr>
        <p:sp>
          <p:nvSpPr>
            <p:cNvPr id="8" name="Freeform: Shape 7">
              <a:extLst>
                <a:ext uri="{FF2B5EF4-FFF2-40B4-BE49-F238E27FC236}">
                  <a16:creationId xmlns:a16="http://schemas.microsoft.com/office/drawing/2014/main" id="{20953A87-D83F-4419-A370-831C7932A338}"/>
                </a:ext>
              </a:extLst>
            </p:cNvPr>
            <p:cNvSpPr/>
            <p:nvPr/>
          </p:nvSpPr>
          <p:spPr>
            <a:xfrm>
              <a:off x="1271332" y="3299850"/>
              <a:ext cx="573152" cy="573152"/>
            </a:xfrm>
            <a:custGeom>
              <a:avLst/>
              <a:gdLst>
                <a:gd name="connsiteX0" fmla="*/ 573153 w 573152"/>
                <a:gd name="connsiteY0" fmla="*/ 286576 h 573152"/>
                <a:gd name="connsiteX1" fmla="*/ 286576 w 573152"/>
                <a:gd name="connsiteY1" fmla="*/ 573153 h 573152"/>
                <a:gd name="connsiteX2" fmla="*/ 0 w 573152"/>
                <a:gd name="connsiteY2" fmla="*/ 286576 h 573152"/>
                <a:gd name="connsiteX3" fmla="*/ 286576 w 573152"/>
                <a:gd name="connsiteY3" fmla="*/ 0 h 573152"/>
                <a:gd name="connsiteX4" fmla="*/ 573153 w 573152"/>
                <a:gd name="connsiteY4" fmla="*/ 286576 h 57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152" h="573152">
                  <a:moveTo>
                    <a:pt x="573153" y="286576"/>
                  </a:moveTo>
                  <a:cubicBezTo>
                    <a:pt x="573153" y="444848"/>
                    <a:pt x="444848" y="573153"/>
                    <a:pt x="286576" y="573153"/>
                  </a:cubicBezTo>
                  <a:cubicBezTo>
                    <a:pt x="128305" y="573153"/>
                    <a:pt x="0" y="444848"/>
                    <a:pt x="0" y="286576"/>
                  </a:cubicBezTo>
                  <a:cubicBezTo>
                    <a:pt x="0" y="128305"/>
                    <a:pt x="128305" y="0"/>
                    <a:pt x="286576" y="0"/>
                  </a:cubicBezTo>
                  <a:cubicBezTo>
                    <a:pt x="444848" y="0"/>
                    <a:pt x="573153" y="128305"/>
                    <a:pt x="573153" y="286576"/>
                  </a:cubicBezTo>
                  <a:close/>
                </a:path>
              </a:pathLst>
            </a:custGeom>
            <a:solidFill>
              <a:srgbClr val="044C70"/>
            </a:solidFill>
            <a:ln w="15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aphic 227">
              <a:extLst>
                <a:ext uri="{FF2B5EF4-FFF2-40B4-BE49-F238E27FC236}">
                  <a16:creationId xmlns:a16="http://schemas.microsoft.com/office/drawing/2014/main" id="{3049F84A-CDD4-460D-A64D-3C292F0759CE}"/>
                </a:ext>
              </a:extLst>
            </p:cNvPr>
            <p:cNvGrpSpPr/>
            <p:nvPr/>
          </p:nvGrpSpPr>
          <p:grpSpPr>
            <a:xfrm>
              <a:off x="1232075" y="3355595"/>
              <a:ext cx="555879" cy="557450"/>
              <a:chOff x="683525" y="3986901"/>
              <a:chExt cx="555879" cy="557450"/>
            </a:xfrm>
            <a:solidFill>
              <a:srgbClr val="000000"/>
            </a:solidFill>
          </p:grpSpPr>
          <p:sp>
            <p:nvSpPr>
              <p:cNvPr id="11" name="Freeform: Shape 10">
                <a:extLst>
                  <a:ext uri="{FF2B5EF4-FFF2-40B4-BE49-F238E27FC236}">
                    <a16:creationId xmlns:a16="http://schemas.microsoft.com/office/drawing/2014/main" id="{32C1F2DC-07A4-44DE-A919-65CFAA5A040E}"/>
                  </a:ext>
                </a:extLst>
              </p:cNvPr>
              <p:cNvSpPr/>
              <p:nvPr/>
            </p:nvSpPr>
            <p:spPr>
              <a:xfrm>
                <a:off x="778527" y="4392819"/>
                <a:ext cx="230046" cy="151532"/>
              </a:xfrm>
              <a:custGeom>
                <a:avLst/>
                <a:gdLst>
                  <a:gd name="connsiteX0" fmla="*/ 55745 w 230046"/>
                  <a:gd name="connsiteY0" fmla="*/ 0 h 151532"/>
                  <a:gd name="connsiteX1" fmla="*/ 0 w 230046"/>
                  <a:gd name="connsiteY1" fmla="*/ 55745 h 151532"/>
                  <a:gd name="connsiteX2" fmla="*/ 230046 w 230046"/>
                  <a:gd name="connsiteY2" fmla="*/ 151532 h 151532"/>
                  <a:gd name="connsiteX3" fmla="*/ 230046 w 230046"/>
                  <a:gd name="connsiteY3" fmla="*/ 73018 h 151532"/>
                  <a:gd name="connsiteX4" fmla="*/ 55745 w 230046"/>
                  <a:gd name="connsiteY4" fmla="*/ 0 h 15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6" h="151532">
                    <a:moveTo>
                      <a:pt x="55745" y="0"/>
                    </a:moveTo>
                    <a:lnTo>
                      <a:pt x="0" y="55745"/>
                    </a:lnTo>
                    <a:cubicBezTo>
                      <a:pt x="58886" y="114631"/>
                      <a:pt x="140540" y="151532"/>
                      <a:pt x="230046" y="151532"/>
                    </a:cubicBezTo>
                    <a:lnTo>
                      <a:pt x="230046" y="73018"/>
                    </a:lnTo>
                    <a:cubicBezTo>
                      <a:pt x="162524" y="72233"/>
                      <a:pt x="100498" y="44753"/>
                      <a:pt x="55745" y="0"/>
                    </a:cubicBezTo>
                    <a:close/>
                  </a:path>
                </a:pathLst>
              </a:custGeom>
              <a:solidFill>
                <a:schemeClr val="accent4">
                  <a:lumMod val="75000"/>
                </a:schemeClr>
              </a:solidFill>
              <a:ln w="7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13DF6C1-5731-40BA-8415-B99AC01DD094}"/>
                  </a:ext>
                </a:extLst>
              </p:cNvPr>
              <p:cNvSpPr/>
              <p:nvPr/>
            </p:nvSpPr>
            <p:spPr>
              <a:xfrm>
                <a:off x="1009358" y="4392034"/>
                <a:ext cx="230046" cy="151532"/>
              </a:xfrm>
              <a:custGeom>
                <a:avLst/>
                <a:gdLst>
                  <a:gd name="connsiteX0" fmla="*/ 0 w 230046"/>
                  <a:gd name="connsiteY0" fmla="*/ 73018 h 151532"/>
                  <a:gd name="connsiteX1" fmla="*/ 0 w 230046"/>
                  <a:gd name="connsiteY1" fmla="*/ 151532 h 151532"/>
                  <a:gd name="connsiteX2" fmla="*/ 230046 w 230046"/>
                  <a:gd name="connsiteY2" fmla="*/ 55745 h 151532"/>
                  <a:gd name="connsiteX3" fmla="*/ 174301 w 230046"/>
                  <a:gd name="connsiteY3" fmla="*/ 0 h 151532"/>
                  <a:gd name="connsiteX4" fmla="*/ 0 w 230046"/>
                  <a:gd name="connsiteY4" fmla="*/ 73018 h 151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46" h="151532">
                    <a:moveTo>
                      <a:pt x="0" y="73018"/>
                    </a:moveTo>
                    <a:lnTo>
                      <a:pt x="0" y="151532"/>
                    </a:lnTo>
                    <a:cubicBezTo>
                      <a:pt x="89506" y="151532"/>
                      <a:pt x="171161" y="114631"/>
                      <a:pt x="230046" y="55745"/>
                    </a:cubicBezTo>
                    <a:lnTo>
                      <a:pt x="174301" y="0"/>
                    </a:lnTo>
                    <a:cubicBezTo>
                      <a:pt x="130333" y="45538"/>
                      <a:pt x="68307" y="73018"/>
                      <a:pt x="0" y="73018"/>
                    </a:cubicBezTo>
                    <a:close/>
                  </a:path>
                </a:pathLst>
              </a:custGeom>
              <a:solidFill>
                <a:srgbClr val="B0E43C"/>
              </a:solidFill>
              <a:ln w="7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1972FCEA-6AEA-47C4-870F-33ABAC19B854}"/>
                  </a:ext>
                </a:extLst>
              </p:cNvPr>
              <p:cNvSpPr/>
              <p:nvPr/>
            </p:nvSpPr>
            <p:spPr>
              <a:xfrm>
                <a:off x="683525" y="4217732"/>
                <a:ext cx="151532" cy="230046"/>
              </a:xfrm>
              <a:custGeom>
                <a:avLst/>
                <a:gdLst>
                  <a:gd name="connsiteX0" fmla="*/ 78514 w 151532"/>
                  <a:gd name="connsiteY0" fmla="*/ 0 h 230046"/>
                  <a:gd name="connsiteX1" fmla="*/ 0 w 151532"/>
                  <a:gd name="connsiteY1" fmla="*/ 0 h 230046"/>
                  <a:gd name="connsiteX2" fmla="*/ 95787 w 151532"/>
                  <a:gd name="connsiteY2" fmla="*/ 230046 h 230046"/>
                  <a:gd name="connsiteX3" fmla="*/ 151532 w 151532"/>
                  <a:gd name="connsiteY3" fmla="*/ 174301 h 230046"/>
                  <a:gd name="connsiteX4" fmla="*/ 78514 w 151532"/>
                  <a:gd name="connsiteY4" fmla="*/ 0 h 23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32" h="230046">
                    <a:moveTo>
                      <a:pt x="78514" y="0"/>
                    </a:moveTo>
                    <a:lnTo>
                      <a:pt x="0" y="0"/>
                    </a:lnTo>
                    <a:cubicBezTo>
                      <a:pt x="0" y="89506"/>
                      <a:pt x="36902" y="171161"/>
                      <a:pt x="95787" y="230046"/>
                    </a:cubicBezTo>
                    <a:lnTo>
                      <a:pt x="151532" y="174301"/>
                    </a:lnTo>
                    <a:cubicBezTo>
                      <a:pt x="105994" y="130333"/>
                      <a:pt x="78514" y="68307"/>
                      <a:pt x="78514" y="0"/>
                    </a:cubicBezTo>
                    <a:close/>
                  </a:path>
                </a:pathLst>
              </a:custGeom>
              <a:solidFill>
                <a:srgbClr val="E9841F"/>
              </a:solidFill>
              <a:ln w="7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483AABC1-AA26-4D5E-9231-D4B50D21B51C}"/>
                  </a:ext>
                </a:extLst>
              </p:cNvPr>
              <p:cNvSpPr/>
              <p:nvPr/>
            </p:nvSpPr>
            <p:spPr>
              <a:xfrm>
                <a:off x="683525" y="3986901"/>
                <a:ext cx="150746" cy="230831"/>
              </a:xfrm>
              <a:custGeom>
                <a:avLst/>
                <a:gdLst>
                  <a:gd name="connsiteX0" fmla="*/ 150747 w 150746"/>
                  <a:gd name="connsiteY0" fmla="*/ 55745 h 230831"/>
                  <a:gd name="connsiteX1" fmla="*/ 95002 w 150746"/>
                  <a:gd name="connsiteY1" fmla="*/ 0 h 230831"/>
                  <a:gd name="connsiteX2" fmla="*/ 0 w 150746"/>
                  <a:gd name="connsiteY2" fmla="*/ 230831 h 230831"/>
                  <a:gd name="connsiteX3" fmla="*/ 78514 w 150746"/>
                  <a:gd name="connsiteY3" fmla="*/ 230831 h 230831"/>
                  <a:gd name="connsiteX4" fmla="*/ 150747 w 150746"/>
                  <a:gd name="connsiteY4" fmla="*/ 55745 h 23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6" h="230831">
                    <a:moveTo>
                      <a:pt x="150747" y="55745"/>
                    </a:moveTo>
                    <a:lnTo>
                      <a:pt x="95002" y="0"/>
                    </a:lnTo>
                    <a:cubicBezTo>
                      <a:pt x="36902" y="59671"/>
                      <a:pt x="0" y="141325"/>
                      <a:pt x="0" y="230831"/>
                    </a:cubicBezTo>
                    <a:lnTo>
                      <a:pt x="78514" y="230831"/>
                    </a:lnTo>
                    <a:cubicBezTo>
                      <a:pt x="78514" y="162524"/>
                      <a:pt x="105994" y="101283"/>
                      <a:pt x="150747" y="55745"/>
                    </a:cubicBezTo>
                    <a:close/>
                  </a:path>
                </a:pathLst>
              </a:custGeom>
              <a:solidFill>
                <a:srgbClr val="FFC000"/>
              </a:solidFill>
              <a:ln w="78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 name="Graphic 9">
              <a:extLst>
                <a:ext uri="{FF2B5EF4-FFF2-40B4-BE49-F238E27FC236}">
                  <a16:creationId xmlns:a16="http://schemas.microsoft.com/office/drawing/2014/main" id="{8C82305A-EE49-491B-972E-7628982F918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98246" y="3425656"/>
              <a:ext cx="319324" cy="320756"/>
            </a:xfrm>
            <a:prstGeom prst="rect">
              <a:avLst/>
            </a:prstGeom>
          </p:spPr>
        </p:pic>
      </p:grpSp>
    </p:spTree>
    <p:extLst>
      <p:ext uri="{BB962C8B-B14F-4D97-AF65-F5344CB8AC3E}">
        <p14:creationId xmlns:p14="http://schemas.microsoft.com/office/powerpoint/2010/main" val="2822491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11031034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960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3771962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5277365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940868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088788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2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3"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145172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552231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408881929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7790568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1589414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427692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6134967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0377063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6016204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1846856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5692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3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Tree>
    <p:extLst>
      <p:ext uri="{BB962C8B-B14F-4D97-AF65-F5344CB8AC3E}">
        <p14:creationId xmlns:p14="http://schemas.microsoft.com/office/powerpoint/2010/main" val="429101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7533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720490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9586374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3273901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50501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163630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7647610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4990580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4045136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7904101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3" y="547295"/>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522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5852315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Tree>
    <p:extLst>
      <p:ext uri="{BB962C8B-B14F-4D97-AF65-F5344CB8AC3E}">
        <p14:creationId xmlns:p14="http://schemas.microsoft.com/office/powerpoint/2010/main" val="414320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5"/>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489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400">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3" y="547295"/>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4355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3" y="1122366"/>
            <a:ext cx="6827265" cy="2576513"/>
          </a:xfrm>
        </p:spPr>
        <p:txBody>
          <a:bodyPr rIns="0" anchor="b"/>
          <a:lstStyle>
            <a:lvl1pPr algn="r">
              <a:defRPr sz="5996">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3" y="3698876"/>
            <a:ext cx="6827265" cy="1558924"/>
          </a:xfrm>
        </p:spPr>
        <p:txBody>
          <a:bodyPr/>
          <a:lstStyle>
            <a:lvl1pPr marL="0" indent="0" algn="r">
              <a:lnSpc>
                <a:spcPct val="100000"/>
              </a:lnSpc>
              <a:buNone/>
              <a:defRPr sz="2394">
                <a:solidFill>
                  <a:schemeClr val="accent1"/>
                </a:solidFill>
              </a:defRPr>
            </a:lvl1pPr>
            <a:lvl2pPr marL="455883" indent="0" algn="ctr">
              <a:buNone/>
              <a:defRPr sz="1995"/>
            </a:lvl2pPr>
            <a:lvl3pPr marL="911764" indent="0" algn="ctr">
              <a:buNone/>
              <a:defRPr sz="1795"/>
            </a:lvl3pPr>
            <a:lvl4pPr marL="1367646" indent="0" algn="ctr">
              <a:buNone/>
              <a:defRPr sz="1596"/>
            </a:lvl4pPr>
            <a:lvl5pPr marL="1823528" indent="0" algn="ctr">
              <a:buNone/>
              <a:defRPr sz="1596"/>
            </a:lvl5pPr>
            <a:lvl6pPr marL="2279409" indent="0" algn="ctr">
              <a:buNone/>
              <a:defRPr sz="1596"/>
            </a:lvl6pPr>
            <a:lvl7pPr marL="2735291" indent="0" algn="ctr">
              <a:buNone/>
              <a:defRPr sz="1596"/>
            </a:lvl7pPr>
            <a:lvl8pPr marL="3191174" indent="0" algn="ctr">
              <a:buNone/>
              <a:defRPr sz="1596"/>
            </a:lvl8pPr>
            <a:lvl9pPr marL="3647054"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6"/>
            <a:ext cx="4158426" cy="4135437"/>
          </a:xfrm>
        </p:spPr>
        <p:txBody>
          <a:bodyPr rIns="0" anchor="ctr"/>
          <a:lstStyle>
            <a:lvl1pPr marL="0" indent="0" algn="l">
              <a:buNone/>
              <a:defRPr>
                <a:solidFill>
                  <a:schemeClr val="accent3"/>
                </a:solidFill>
                <a:latin typeface="+mj-lt"/>
              </a:defRPr>
            </a:lvl1pPr>
            <a:lvl2pPr marL="455883" indent="0">
              <a:buNone/>
              <a:defRPr/>
            </a:lvl2pPr>
            <a:lvl3pPr marL="911764" indent="0">
              <a:buNone/>
              <a:defRPr/>
            </a:lvl3pPr>
            <a:lvl4pPr marL="1367646" indent="0">
              <a:buNone/>
              <a:defRPr/>
            </a:lvl4pPr>
            <a:lvl5pPr marL="18235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1"/>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3" y="547295"/>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9694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2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1" y="547293"/>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402348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9" y="0"/>
            <a:ext cx="6211835" cy="6858000"/>
          </a:xfrm>
          <a:prstGeom prst="rect">
            <a:avLst/>
          </a:prstGeom>
        </p:spPr>
      </p:pic>
      <p:sp>
        <p:nvSpPr>
          <p:cNvPr id="2" name="Title 1"/>
          <p:cNvSpPr>
            <a:spLocks noGrp="1"/>
          </p:cNvSpPr>
          <p:nvPr>
            <p:ph type="ctrTitle"/>
          </p:nvPr>
        </p:nvSpPr>
        <p:spPr>
          <a:xfrm>
            <a:off x="553824" y="1898051"/>
            <a:ext cx="5426345" cy="2387600"/>
          </a:xfrm>
        </p:spPr>
        <p:txBody>
          <a:bodyPr rIns="0" anchor="b"/>
          <a:lstStyle>
            <a:lvl1pPr algn="l">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4377726"/>
            <a:ext cx="5426345" cy="1387870"/>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4" y="547296"/>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44046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2_Photography half bleed  white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898051"/>
            <a:ext cx="5426345" cy="2387600"/>
          </a:xfrm>
        </p:spPr>
        <p:txBody>
          <a:bodyPr rIns="0"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1" y="4377726"/>
            <a:ext cx="5426345" cy="1387870"/>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12" name="Group 11">
            <a:extLst>
              <a:ext uri="{FF2B5EF4-FFF2-40B4-BE49-F238E27FC236}">
                <a16:creationId xmlns:a16="http://schemas.microsoft.com/office/drawing/2014/main" id="{2FC84F51-8995-407E-9255-52943F87D8BB}"/>
              </a:ext>
            </a:extLst>
          </p:cNvPr>
          <p:cNvGrpSpPr/>
          <p:nvPr userDrawn="1"/>
        </p:nvGrpSpPr>
        <p:grpSpPr>
          <a:xfrm>
            <a:off x="553821" y="547293"/>
            <a:ext cx="1554197" cy="330567"/>
            <a:chOff x="7353301" y="-1897063"/>
            <a:chExt cx="5749290" cy="1225867"/>
          </a:xfrm>
        </p:grpSpPr>
        <p:sp>
          <p:nvSpPr>
            <p:cNvPr id="13" name="Freeform: Shape 12">
              <a:extLst>
                <a:ext uri="{FF2B5EF4-FFF2-40B4-BE49-F238E27FC236}">
                  <a16:creationId xmlns:a16="http://schemas.microsoft.com/office/drawing/2014/main" id="{3D4DE184-5E2E-420C-8B40-F034940AC4CA}"/>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BA89733A-C91F-4AAE-B43B-2DB4C58DA409}"/>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489BE32E-7C82-4FD2-B0C8-52268EF2632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F7C20213-DECA-4E83-A8F3-3C47F8D3A73F}"/>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40476DB6-851F-4C13-9AF6-6F09E0B4C6C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8" name="Graphic 17">
            <a:extLst>
              <a:ext uri="{FF2B5EF4-FFF2-40B4-BE49-F238E27FC236}">
                <a16:creationId xmlns:a16="http://schemas.microsoft.com/office/drawing/2014/main" id="{E3CB7F0E-CE59-4ADC-BD21-A1A2A2F596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05800" y="814675"/>
            <a:ext cx="4500829" cy="5320749"/>
          </a:xfrm>
          <a:prstGeom prst="rect">
            <a:avLst/>
          </a:prstGeom>
        </p:spPr>
      </p:pic>
    </p:spTree>
    <p:extLst>
      <p:ext uri="{BB962C8B-B14F-4D97-AF65-F5344CB8AC3E}">
        <p14:creationId xmlns:p14="http://schemas.microsoft.com/office/powerpoint/2010/main" val="185792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4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1"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spTree>
    <p:extLst>
      <p:ext uri="{BB962C8B-B14F-4D97-AF65-F5344CB8AC3E}">
        <p14:creationId xmlns:p14="http://schemas.microsoft.com/office/powerpoint/2010/main" val="97503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5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1896214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2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7"/>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1" y="547293"/>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874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2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Tree>
    <p:extLst>
      <p:ext uri="{BB962C8B-B14F-4D97-AF65-F5344CB8AC3E}">
        <p14:creationId xmlns:p14="http://schemas.microsoft.com/office/powerpoint/2010/main" val="386518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2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2700"/>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49" y="547293"/>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8217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8888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5620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3_Photography half bleed dark 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898051"/>
            <a:ext cx="5426345" cy="2387600"/>
          </a:xfrm>
        </p:spPr>
        <p:txBody>
          <a:bodyPr rIns="0" anchor="b"/>
          <a:lstStyle>
            <a:lvl1pPr algn="l">
              <a:defRPr sz="5998">
                <a:solidFill>
                  <a:schemeClr val="bg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bg1"/>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2" name="Picture 11">
            <a:extLst>
              <a:ext uri="{FF2B5EF4-FFF2-40B4-BE49-F238E27FC236}">
                <a16:creationId xmlns:a16="http://schemas.microsoft.com/office/drawing/2014/main" id="{D0D8CF2E-5835-4022-AC9E-3715073782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0166" y="0"/>
            <a:ext cx="6211834" cy="6858000"/>
          </a:xfrm>
          <a:prstGeom prst="rect">
            <a:avLst/>
          </a:prstGeom>
        </p:spPr>
      </p:pic>
    </p:spTree>
    <p:extLst>
      <p:ext uri="{BB962C8B-B14F-4D97-AF65-F5344CB8AC3E}">
        <p14:creationId xmlns:p14="http://schemas.microsoft.com/office/powerpoint/2010/main" val="151843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3_Photography half bleed  white title">
    <p:bg>
      <p:bgPr>
        <a:solidFill>
          <a:schemeClr val="tx2"/>
        </a:solidFill>
        <a:effectLst/>
      </p:bgPr>
    </p:bg>
    <p:spTree>
      <p:nvGrpSpPr>
        <p:cNvPr id="1" name=""/>
        <p:cNvGrpSpPr/>
        <p:nvPr/>
      </p:nvGrpSpPr>
      <p:grpSpPr>
        <a:xfrm>
          <a:off x="0" y="0"/>
          <a:ext cx="0" cy="0"/>
          <a:chOff x="0" y="0"/>
          <a:chExt cx="0" cy="0"/>
        </a:xfrm>
      </p:grpSpPr>
      <p:pic>
        <p:nvPicPr>
          <p:cNvPr id="11" name="Picture 10" descr="A large room&#10;&#10;Description automatically generated">
            <a:extLst>
              <a:ext uri="{FF2B5EF4-FFF2-40B4-BE49-F238E27FC236}">
                <a16:creationId xmlns:a16="http://schemas.microsoft.com/office/drawing/2014/main" id="{5140A7D1-E5D6-4241-A03A-B5BEF74276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80167" y="0"/>
            <a:ext cx="6211835" cy="6858000"/>
          </a:xfrm>
          <a:prstGeom prst="rect">
            <a:avLst/>
          </a:prstGeom>
        </p:spPr>
      </p:pic>
      <p:sp>
        <p:nvSpPr>
          <p:cNvPr id="2" name="Title 1"/>
          <p:cNvSpPr>
            <a:spLocks noGrp="1"/>
          </p:cNvSpPr>
          <p:nvPr>
            <p:ph type="ctrTitle"/>
          </p:nvPr>
        </p:nvSpPr>
        <p:spPr>
          <a:xfrm>
            <a:off x="553822" y="1898051"/>
            <a:ext cx="5426345" cy="2387600"/>
          </a:xfrm>
        </p:spPr>
        <p:txBody>
          <a:bodyPr rIns="0" anchor="b"/>
          <a:lstStyle>
            <a:lvl1pPr algn="l">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4377726"/>
            <a:ext cx="5426345" cy="1387870"/>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39" name="Group 38">
            <a:extLst>
              <a:ext uri="{FF2B5EF4-FFF2-40B4-BE49-F238E27FC236}">
                <a16:creationId xmlns:a16="http://schemas.microsoft.com/office/drawing/2014/main" id="{CCEF59A9-DB11-41D8-940A-3DCD1C8DD9FC}"/>
              </a:ext>
            </a:extLst>
          </p:cNvPr>
          <p:cNvGrpSpPr/>
          <p:nvPr userDrawn="1"/>
        </p:nvGrpSpPr>
        <p:grpSpPr>
          <a:xfrm>
            <a:off x="553822" y="547294"/>
            <a:ext cx="1554197" cy="330567"/>
            <a:chOff x="7353301" y="-1897063"/>
            <a:chExt cx="5749290" cy="1225867"/>
          </a:xfrm>
        </p:grpSpPr>
        <p:sp>
          <p:nvSpPr>
            <p:cNvPr id="40" name="Freeform: Shape 39">
              <a:extLst>
                <a:ext uri="{FF2B5EF4-FFF2-40B4-BE49-F238E27FC236}">
                  <a16:creationId xmlns:a16="http://schemas.microsoft.com/office/drawing/2014/main" id="{ADB0C96D-CDFB-45FF-9922-0274C3954BAF}"/>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41" name="Freeform: Shape 40">
              <a:extLst>
                <a:ext uri="{FF2B5EF4-FFF2-40B4-BE49-F238E27FC236}">
                  <a16:creationId xmlns:a16="http://schemas.microsoft.com/office/drawing/2014/main" id="{EB858423-7B06-48B7-B67B-833EEC664A74}"/>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42" name="Freeform: Shape 41">
              <a:extLst>
                <a:ext uri="{FF2B5EF4-FFF2-40B4-BE49-F238E27FC236}">
                  <a16:creationId xmlns:a16="http://schemas.microsoft.com/office/drawing/2014/main" id="{E6FD1FB7-12A8-4AF4-B7AA-515BDD5CB5C1}"/>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43" name="Freeform: Shape 42">
              <a:extLst>
                <a:ext uri="{FF2B5EF4-FFF2-40B4-BE49-F238E27FC236}">
                  <a16:creationId xmlns:a16="http://schemas.microsoft.com/office/drawing/2014/main" id="{7716CD07-4777-477B-AFEB-C9BD5C1F5FE1}"/>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44" name="Freeform: Shape 43">
              <a:extLst>
                <a:ext uri="{FF2B5EF4-FFF2-40B4-BE49-F238E27FC236}">
                  <a16:creationId xmlns:a16="http://schemas.microsoft.com/office/drawing/2014/main" id="{96265A3A-4AE0-4E7C-A054-DB7F6C61C903}"/>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7884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4"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063319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6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553822"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spTree>
    <p:extLst>
      <p:ext uri="{BB962C8B-B14F-4D97-AF65-F5344CB8AC3E}">
        <p14:creationId xmlns:p14="http://schemas.microsoft.com/office/powerpoint/2010/main" val="25986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7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Tree>
    <p:extLst>
      <p:ext uri="{BB962C8B-B14F-4D97-AF65-F5344CB8AC3E}">
        <p14:creationId xmlns:p14="http://schemas.microsoft.com/office/powerpoint/2010/main" val="125069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3_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2" y="547294"/>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6375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3_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Tree>
    <p:extLst>
      <p:ext uri="{BB962C8B-B14F-4D97-AF65-F5344CB8AC3E}">
        <p14:creationId xmlns:p14="http://schemas.microsoft.com/office/powerpoint/2010/main" val="386615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3_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0" y="547294"/>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33719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7343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155892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5"/>
            <a:ext cx="4158426" cy="4135437"/>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0499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8"/>
            <a:ext cx="11081177" cy="1020601"/>
          </a:xfrm>
        </p:spPr>
        <p:txBody>
          <a:bodyPr anchor="t"/>
          <a:lstStyle/>
          <a:p>
            <a:r>
              <a:rPr lang="en-US"/>
              <a:t>Click to edit Master title style</a:t>
            </a:r>
          </a:p>
        </p:txBody>
      </p:sp>
      <p:sp>
        <p:nvSpPr>
          <p:cNvPr id="3" name="Content Placeholder 2"/>
          <p:cNvSpPr>
            <a:spLocks noGrp="1"/>
          </p:cNvSpPr>
          <p:nvPr>
            <p:ph idx="1"/>
          </p:nvPr>
        </p:nvSpPr>
        <p:spPr>
          <a:xfrm>
            <a:off x="563369" y="1620572"/>
            <a:ext cx="11081177" cy="4689743"/>
          </a:xfrm>
        </p:spPr>
        <p:txBody>
          <a:bodyPr/>
          <a:lstStyle>
            <a:lvl1pPr>
              <a:defRPr sz="2800"/>
            </a:lvl1pPr>
            <a:lvl2pPr>
              <a:defRPr sz="2400"/>
            </a:lvl2pPr>
            <a:lvl3pPr>
              <a:defRPr sz="20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30326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23991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57425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IOT dark Title-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Tree>
    <p:extLst>
      <p:ext uri="{BB962C8B-B14F-4D97-AF65-F5344CB8AC3E}">
        <p14:creationId xmlns:p14="http://schemas.microsoft.com/office/powerpoint/2010/main" val="136473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1_Agenda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D08A1C44-056B-4870-84CB-CB9593961428}"/>
              </a:ext>
              <a:ext uri="{C183D7F6-B498-43B3-948B-1728B52AA6E4}">
                <adec:decorative xmlns:adec="http://schemas.microsoft.com/office/drawing/2017/decorative" val="1"/>
              </a:ext>
            </a:extLst>
          </p:cNvPr>
          <p:cNvCxnSpPr>
            <a:cxnSpLocks/>
          </p:cNvCxnSpPr>
          <p:nvPr userDrawn="1"/>
        </p:nvCxnSpPr>
        <p:spPr>
          <a:xfrm>
            <a:off x="0" y="3066325"/>
            <a:ext cx="12191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3E1666C-830C-48FB-B5AD-510ECB323CB3}"/>
              </a:ext>
              <a:ext uri="{C183D7F6-B498-43B3-948B-1728B52AA6E4}">
                <adec:decorative xmlns:adec="http://schemas.microsoft.com/office/drawing/2017/decorative" val="1"/>
              </a:ext>
            </a:extLst>
          </p:cNvPr>
          <p:cNvSpPr/>
          <p:nvPr userDrawn="1"/>
        </p:nvSpPr>
        <p:spPr>
          <a:xfrm>
            <a:off x="104195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7" name="Picture 46">
            <a:extLst>
              <a:ext uri="{FF2B5EF4-FFF2-40B4-BE49-F238E27FC236}">
                <a16:creationId xmlns:a16="http://schemas.microsoft.com/office/drawing/2014/main" id="{58822BAA-77F6-421A-A92D-B667EC362FA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478507" y="2879835"/>
            <a:ext cx="845820" cy="373380"/>
          </a:xfrm>
          <a:prstGeom prst="rect">
            <a:avLst/>
          </a:prstGeom>
        </p:spPr>
      </p:pic>
      <p:sp>
        <p:nvSpPr>
          <p:cNvPr id="5" name="Freeform: Shape 4">
            <a:extLst>
              <a:ext uri="{FF2B5EF4-FFF2-40B4-BE49-F238E27FC236}">
                <a16:creationId xmlns:a16="http://schemas.microsoft.com/office/drawing/2014/main" id="{80CB8B14-E438-4120-B465-128255E55A4B}"/>
              </a:ext>
              <a:ext uri="{C183D7F6-B498-43B3-948B-1728B52AA6E4}">
                <adec:decorative xmlns:adec="http://schemas.microsoft.com/office/drawing/2017/decorative" val="1"/>
              </a:ext>
            </a:extLst>
          </p:cNvPr>
          <p:cNvSpPr/>
          <p:nvPr userDrawn="1"/>
        </p:nvSpPr>
        <p:spPr>
          <a:xfrm>
            <a:off x="320718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025707B-86F4-44C1-A3C0-1336950CED53}"/>
              </a:ext>
              <a:ext uri="{C183D7F6-B498-43B3-948B-1728B52AA6E4}">
                <adec:decorative xmlns:adec="http://schemas.microsoft.com/office/drawing/2017/decorative" val="1"/>
              </a:ext>
            </a:extLst>
          </p:cNvPr>
          <p:cNvSpPr/>
          <p:nvPr userDrawn="1"/>
        </p:nvSpPr>
        <p:spPr>
          <a:xfrm>
            <a:off x="383933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B191E0CB-FA4F-4E61-8222-B2B5A3FEC8C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358220" y="2727235"/>
            <a:ext cx="678180" cy="678180"/>
          </a:xfrm>
          <a:prstGeom prst="rect">
            <a:avLst/>
          </a:prstGeom>
        </p:spPr>
      </p:pic>
      <p:sp>
        <p:nvSpPr>
          <p:cNvPr id="7" name="Freeform: Shape 6">
            <a:extLst>
              <a:ext uri="{FF2B5EF4-FFF2-40B4-BE49-F238E27FC236}">
                <a16:creationId xmlns:a16="http://schemas.microsoft.com/office/drawing/2014/main" id="{3AE1A04E-2921-4F8A-80B8-388F109A1111}"/>
              </a:ext>
              <a:ext uri="{C183D7F6-B498-43B3-948B-1728B52AA6E4}">
                <adec:decorative xmlns:adec="http://schemas.microsoft.com/office/drawing/2017/decorative" val="1"/>
              </a:ext>
            </a:extLst>
          </p:cNvPr>
          <p:cNvSpPr/>
          <p:nvPr userDrawn="1"/>
        </p:nvSpPr>
        <p:spPr>
          <a:xfrm>
            <a:off x="600456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F3B17996-9F62-4251-A688-C9861221CF2C}"/>
              </a:ext>
              <a:ext uri="{C183D7F6-B498-43B3-948B-1728B52AA6E4}">
                <adec:decorative xmlns:adec="http://schemas.microsoft.com/office/drawing/2017/decorative" val="1"/>
              </a:ext>
            </a:extLst>
          </p:cNvPr>
          <p:cNvSpPr/>
          <p:nvPr userDrawn="1"/>
        </p:nvSpPr>
        <p:spPr>
          <a:xfrm>
            <a:off x="663671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49" name="Picture 48">
            <a:extLst>
              <a:ext uri="{FF2B5EF4-FFF2-40B4-BE49-F238E27FC236}">
                <a16:creationId xmlns:a16="http://schemas.microsoft.com/office/drawing/2014/main" id="{74E7C9A9-D6B8-41A9-9C51-60CDE20A39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7243230" y="2757715"/>
            <a:ext cx="502920" cy="617220"/>
          </a:xfrm>
          <a:prstGeom prst="rect">
            <a:avLst/>
          </a:prstGeom>
        </p:spPr>
      </p:pic>
      <p:sp>
        <p:nvSpPr>
          <p:cNvPr id="12" name="Freeform: Shape 11">
            <a:extLst>
              <a:ext uri="{FF2B5EF4-FFF2-40B4-BE49-F238E27FC236}">
                <a16:creationId xmlns:a16="http://schemas.microsoft.com/office/drawing/2014/main" id="{B8AC57B8-9D13-4DA9-A86B-DE39E1DC82ED}"/>
              </a:ext>
              <a:ext uri="{C183D7F6-B498-43B3-948B-1728B52AA6E4}">
                <adec:decorative xmlns:adec="http://schemas.microsoft.com/office/drawing/2017/decorative" val="1"/>
              </a:ext>
            </a:extLst>
          </p:cNvPr>
          <p:cNvSpPr/>
          <p:nvPr userDrawn="1"/>
        </p:nvSpPr>
        <p:spPr>
          <a:xfrm>
            <a:off x="8801940" y="2974885"/>
            <a:ext cx="182880" cy="182880"/>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rgbClr val="00B0F0"/>
          </a:solidFill>
          <a:ln w="424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
        <p:nvSpPr>
          <p:cNvPr id="8" name="Freeform: Shape 7">
            <a:extLst>
              <a:ext uri="{FF2B5EF4-FFF2-40B4-BE49-F238E27FC236}">
                <a16:creationId xmlns:a16="http://schemas.microsoft.com/office/drawing/2014/main" id="{84A4058E-E3C3-4A1B-B971-CB258328B3F3}"/>
              </a:ext>
              <a:ext uri="{C183D7F6-B498-43B3-948B-1728B52AA6E4}">
                <adec:decorative xmlns:adec="http://schemas.microsoft.com/office/drawing/2017/decorative" val="1"/>
              </a:ext>
            </a:extLst>
          </p:cNvPr>
          <p:cNvSpPr/>
          <p:nvPr userDrawn="1"/>
        </p:nvSpPr>
        <p:spPr>
          <a:xfrm>
            <a:off x="9434097" y="2208352"/>
            <a:ext cx="1715946" cy="1715946"/>
          </a:xfrm>
          <a:custGeom>
            <a:avLst/>
            <a:gdLst>
              <a:gd name="connsiteX0" fmla="*/ 254874 w 505521"/>
              <a:gd name="connsiteY0" fmla="*/ 0 h 505522"/>
              <a:gd name="connsiteX1" fmla="*/ 509748 w 505521"/>
              <a:gd name="connsiteY1" fmla="*/ 254874 h 505522"/>
              <a:gd name="connsiteX2" fmla="*/ 254874 w 505521"/>
              <a:gd name="connsiteY2" fmla="*/ 509748 h 505522"/>
              <a:gd name="connsiteX3" fmla="*/ 0 w 505521"/>
              <a:gd name="connsiteY3" fmla="*/ 254874 h 505522"/>
            </a:gdLst>
            <a:ahLst/>
            <a:cxnLst>
              <a:cxn ang="0">
                <a:pos x="connsiteX0" y="connsiteY0"/>
              </a:cxn>
              <a:cxn ang="0">
                <a:pos x="connsiteX1" y="connsiteY1"/>
              </a:cxn>
              <a:cxn ang="0">
                <a:pos x="connsiteX2" y="connsiteY2"/>
              </a:cxn>
              <a:cxn ang="0">
                <a:pos x="connsiteX3" y="connsiteY3"/>
              </a:cxn>
            </a:cxnLst>
            <a:rect l="l" t="t" r="r" b="b"/>
            <a:pathLst>
              <a:path w="505521" h="505522">
                <a:moveTo>
                  <a:pt x="254874" y="0"/>
                </a:moveTo>
                <a:lnTo>
                  <a:pt x="509748" y="254874"/>
                </a:lnTo>
                <a:lnTo>
                  <a:pt x="254874" y="509748"/>
                </a:lnTo>
                <a:lnTo>
                  <a:pt x="0" y="254874"/>
                </a:lnTo>
                <a:close/>
              </a:path>
            </a:pathLst>
          </a:custGeom>
          <a:solidFill>
            <a:schemeClr val="tx1"/>
          </a:solidFill>
          <a:ln w="4248" cap="flat">
            <a:solidFill>
              <a:schemeClr val="bg1"/>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36B1EAB2-A5A2-4BD8-BEDF-C17DBB28CC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9937740" y="2711995"/>
            <a:ext cx="708660" cy="708660"/>
          </a:xfrm>
          <a:prstGeom prst="rect">
            <a:avLst/>
          </a:prstGeom>
        </p:spPr>
      </p:pic>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59085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17865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416284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Dark-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pic>
        <p:nvPicPr>
          <p:cNvPr id="74" name="Picture 73">
            <a:extLst>
              <a:ext uri="{FF2B5EF4-FFF2-40B4-BE49-F238E27FC236}">
                <a16:creationId xmlns:a16="http://schemas.microsoft.com/office/drawing/2014/main" id="{25FB7173-36C9-4C5E-8A20-7A27AB9F9E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85" r="-3141" b="-1397"/>
          <a:stretch/>
        </p:blipFill>
        <p:spPr>
          <a:xfrm>
            <a:off x="0" y="-116114"/>
            <a:ext cx="3528884" cy="7061200"/>
          </a:xfrm>
          <a:prstGeom prst="rect">
            <a:avLst/>
          </a:prstGeom>
        </p:spPr>
      </p:pic>
    </p:spTree>
    <p:extLst>
      <p:ext uri="{BB962C8B-B14F-4D97-AF65-F5344CB8AC3E}">
        <p14:creationId xmlns:p14="http://schemas.microsoft.com/office/powerpoint/2010/main" val="248019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Dark-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accent3"/>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228215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4"/>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9" y="0"/>
            <a:ext cx="4538552" cy="4576268"/>
          </a:xfrm>
          <a:prstGeom prst="rect">
            <a:avLst/>
          </a:prstGeom>
        </p:spPr>
      </p:pic>
    </p:spTree>
    <p:extLst>
      <p:ext uri="{BB962C8B-B14F-4D97-AF65-F5344CB8AC3E}">
        <p14:creationId xmlns:p14="http://schemas.microsoft.com/office/powerpoint/2010/main" val="427852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1" y="2223209"/>
            <a:ext cx="4659879" cy="4634792"/>
          </a:xfrm>
          <a:prstGeom prst="rect">
            <a:avLst/>
          </a:prstGeom>
        </p:spPr>
      </p:pic>
    </p:spTree>
    <p:extLst>
      <p:ext uri="{BB962C8B-B14F-4D97-AF65-F5344CB8AC3E}">
        <p14:creationId xmlns:p14="http://schemas.microsoft.com/office/powerpoint/2010/main" val="40817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Dark-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accent3"/>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85924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4"/>
            <a:ext cx="6070778" cy="2852737"/>
          </a:xfrm>
        </p:spPr>
        <p:txBody>
          <a:bodyPr anchor="ctr"/>
          <a:lstStyle>
            <a:lvl1pPr>
              <a:defRPr sz="3600">
                <a:solidFill>
                  <a:schemeClr val="tx1"/>
                </a:solidFill>
              </a:defRPr>
            </a:lvl1pPr>
          </a:lstStyle>
          <a:p>
            <a:r>
              <a:rPr lang="en-US"/>
              <a:t>Click to edit Master title style</a:t>
            </a:r>
          </a:p>
        </p:txBody>
      </p:sp>
      <p:grpSp>
        <p:nvGrpSpPr>
          <p:cNvPr id="380" name="Group 379">
            <a:extLst>
              <a:ext uri="{FF2B5EF4-FFF2-40B4-BE49-F238E27FC236}">
                <a16:creationId xmlns:a16="http://schemas.microsoft.com/office/drawing/2014/main" id="{7E49B46A-22C2-4AC1-AD1F-36F9D8D0C8B0}"/>
              </a:ext>
            </a:extLst>
          </p:cNvPr>
          <p:cNvGrpSpPr/>
          <p:nvPr userDrawn="1"/>
        </p:nvGrpSpPr>
        <p:grpSpPr>
          <a:xfrm>
            <a:off x="0" y="1912215"/>
            <a:ext cx="4958052" cy="4945786"/>
            <a:chOff x="-6227879" y="0"/>
            <a:chExt cx="6857422" cy="6857422"/>
          </a:xfrm>
        </p:grpSpPr>
        <p:sp>
          <p:nvSpPr>
            <p:cNvPr id="5" name="Freeform: Shape 4">
              <a:extLst>
                <a:ext uri="{FF2B5EF4-FFF2-40B4-BE49-F238E27FC236}">
                  <a16:creationId xmlns:a16="http://schemas.microsoft.com/office/drawing/2014/main" id="{AECF1235-FD31-411D-A9E9-16C95572DA7F}"/>
                </a:ext>
              </a:extLst>
            </p:cNvPr>
            <p:cNvSpPr/>
            <p:nvPr/>
          </p:nvSpPr>
          <p:spPr>
            <a:xfrm>
              <a:off x="-622787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154B3451-C9C6-4E3D-8807-628F8074E630}"/>
                </a:ext>
              </a:extLst>
            </p:cNvPr>
            <p:cNvSpPr/>
            <p:nvPr/>
          </p:nvSpPr>
          <p:spPr>
            <a:xfrm>
              <a:off x="-622787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69D79BD6-6E0D-42A8-AA89-BE4F7248DD23}"/>
                </a:ext>
              </a:extLst>
            </p:cNvPr>
            <p:cNvSpPr/>
            <p:nvPr/>
          </p:nvSpPr>
          <p:spPr>
            <a:xfrm>
              <a:off x="-4820329"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8B3A2827-ECE1-424D-86A8-78C773D37EC6}"/>
                </a:ext>
              </a:extLst>
            </p:cNvPr>
            <p:cNvSpPr/>
            <p:nvPr/>
          </p:nvSpPr>
          <p:spPr>
            <a:xfrm>
              <a:off x="-4820329"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14F9FFA4-E2C5-4C0D-B429-BDABDD0E2246}"/>
                </a:ext>
              </a:extLst>
            </p:cNvPr>
            <p:cNvSpPr/>
            <p:nvPr/>
          </p:nvSpPr>
          <p:spPr>
            <a:xfrm>
              <a:off x="-341277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1C752D51-6B44-4AE9-92D6-74F0E7591D1C}"/>
                </a:ext>
              </a:extLst>
            </p:cNvPr>
            <p:cNvSpPr/>
            <p:nvPr/>
          </p:nvSpPr>
          <p:spPr>
            <a:xfrm>
              <a:off x="-341277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98472D37-C4D8-408D-A04D-81A0D4EF9F99}"/>
                </a:ext>
              </a:extLst>
            </p:cNvPr>
            <p:cNvSpPr/>
            <p:nvPr/>
          </p:nvSpPr>
          <p:spPr>
            <a:xfrm>
              <a:off x="-2005228" y="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91CB739F-7EB7-4846-8B51-F8920B7CF63B}"/>
                </a:ext>
              </a:extLst>
            </p:cNvPr>
            <p:cNvSpPr/>
            <p:nvPr/>
          </p:nvSpPr>
          <p:spPr>
            <a:xfrm>
              <a:off x="-2005228" y="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643152E-D9DB-4D48-8B74-27DEE2243BE1}"/>
                </a:ext>
              </a:extLst>
            </p:cNvPr>
            <p:cNvSpPr/>
            <p:nvPr/>
          </p:nvSpPr>
          <p:spPr>
            <a:xfrm>
              <a:off x="-597678" y="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630715E3-2197-4DFD-A00A-7B762ED6856D}"/>
                </a:ext>
              </a:extLst>
            </p:cNvPr>
            <p:cNvSpPr/>
            <p:nvPr/>
          </p:nvSpPr>
          <p:spPr>
            <a:xfrm>
              <a:off x="-597678" y="0"/>
              <a:ext cx="1227221" cy="1227221"/>
            </a:xfrm>
            <a:custGeom>
              <a:avLst/>
              <a:gdLst>
                <a:gd name="connsiteX0" fmla="*/ 1227221 w 1227221"/>
                <a:gd name="connsiteY0" fmla="*/ 613611 h 1227221"/>
                <a:gd name="connsiteX1" fmla="*/ 613610 w 1227221"/>
                <a:gd name="connsiteY1" fmla="*/ 1227221 h 1227221"/>
                <a:gd name="connsiteX2" fmla="*/ 0 w 1227221"/>
                <a:gd name="connsiteY2" fmla="*/ 613611 h 1227221"/>
                <a:gd name="connsiteX3" fmla="*/ 613610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0" y="1227221"/>
                  </a:cubicBezTo>
                  <a:cubicBezTo>
                    <a:pt x="274723" y="1227221"/>
                    <a:pt x="0" y="952498"/>
                    <a:pt x="0" y="613611"/>
                  </a:cubicBezTo>
                  <a:cubicBezTo>
                    <a:pt x="0" y="274723"/>
                    <a:pt x="274723" y="0"/>
                    <a:pt x="613610"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D52BA8B6-7A7D-4BB6-BCD5-B4691D8FC673}"/>
                </a:ext>
              </a:extLst>
            </p:cNvPr>
            <p:cNvSpPr/>
            <p:nvPr/>
          </p:nvSpPr>
          <p:spPr>
            <a:xfrm>
              <a:off x="-622787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9B2D0F37-8CF0-493E-BDA2-7F6502179636}"/>
                </a:ext>
              </a:extLst>
            </p:cNvPr>
            <p:cNvSpPr/>
            <p:nvPr/>
          </p:nvSpPr>
          <p:spPr>
            <a:xfrm>
              <a:off x="-622787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60135A3-D45D-414B-A102-17DBC03EF050}"/>
                </a:ext>
              </a:extLst>
            </p:cNvPr>
            <p:cNvSpPr/>
            <p:nvPr/>
          </p:nvSpPr>
          <p:spPr>
            <a:xfrm>
              <a:off x="-4820329"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6972B81C-E47E-4490-9C6F-FE065A8204F1}"/>
                </a:ext>
              </a:extLst>
            </p:cNvPr>
            <p:cNvSpPr/>
            <p:nvPr/>
          </p:nvSpPr>
          <p:spPr>
            <a:xfrm>
              <a:off x="-4820329"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3D29C863-36EB-4156-AFD5-9203B1D9EFAC}"/>
                </a:ext>
              </a:extLst>
            </p:cNvPr>
            <p:cNvSpPr/>
            <p:nvPr/>
          </p:nvSpPr>
          <p:spPr>
            <a:xfrm>
              <a:off x="-341277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0" name="Freeform: Shape 19">
              <a:extLst>
                <a:ext uri="{FF2B5EF4-FFF2-40B4-BE49-F238E27FC236}">
                  <a16:creationId xmlns:a16="http://schemas.microsoft.com/office/drawing/2014/main" id="{36D4729C-D247-46E9-8C9C-FCE0C0A0C65B}"/>
                </a:ext>
              </a:extLst>
            </p:cNvPr>
            <p:cNvSpPr/>
            <p:nvPr/>
          </p:nvSpPr>
          <p:spPr>
            <a:xfrm>
              <a:off x="-34127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1" name="Freeform: Shape 20">
              <a:extLst>
                <a:ext uri="{FF2B5EF4-FFF2-40B4-BE49-F238E27FC236}">
                  <a16:creationId xmlns:a16="http://schemas.microsoft.com/office/drawing/2014/main" id="{9976A526-C529-4988-B2CF-F2AB9548570D}"/>
                </a:ext>
              </a:extLst>
            </p:cNvPr>
            <p:cNvSpPr/>
            <p:nvPr/>
          </p:nvSpPr>
          <p:spPr>
            <a:xfrm>
              <a:off x="-2005228" y="1407550"/>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2" name="Freeform: Shape 21">
              <a:extLst>
                <a:ext uri="{FF2B5EF4-FFF2-40B4-BE49-F238E27FC236}">
                  <a16:creationId xmlns:a16="http://schemas.microsoft.com/office/drawing/2014/main" id="{85062E70-AD5F-4EFC-B0D8-0C9095F4B18A}"/>
                </a:ext>
              </a:extLst>
            </p:cNvPr>
            <p:cNvSpPr/>
            <p:nvPr/>
          </p:nvSpPr>
          <p:spPr>
            <a:xfrm>
              <a:off x="-2005228" y="1407550"/>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0078D4"/>
            </a:solidFill>
            <a:ln w="7219" cap="flat">
              <a:noFill/>
              <a:prstDash val="solid"/>
              <a:miter/>
            </a:ln>
          </p:spPr>
          <p:txBody>
            <a:bodyPr rtlCol="0" anchor="ctr"/>
            <a:lstStyle/>
            <a:p>
              <a:endParaRPr lang="en-US" sz="1800"/>
            </a:p>
          </p:txBody>
        </p:sp>
        <p:sp>
          <p:nvSpPr>
            <p:cNvPr id="23" name="Freeform: Shape 22">
              <a:extLst>
                <a:ext uri="{FF2B5EF4-FFF2-40B4-BE49-F238E27FC236}">
                  <a16:creationId xmlns:a16="http://schemas.microsoft.com/office/drawing/2014/main" id="{663C171D-686E-4239-B071-B91E8141B69D}"/>
                </a:ext>
              </a:extLst>
            </p:cNvPr>
            <p:cNvSpPr/>
            <p:nvPr/>
          </p:nvSpPr>
          <p:spPr>
            <a:xfrm>
              <a:off x="-597678" y="1407550"/>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41182ED5-7747-4EB6-B778-EECAF850F6D3}"/>
                </a:ext>
              </a:extLst>
            </p:cNvPr>
            <p:cNvSpPr/>
            <p:nvPr/>
          </p:nvSpPr>
          <p:spPr>
            <a:xfrm>
              <a:off x="-597678" y="1407550"/>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55E200E7-E0FC-4E98-9D58-8823BCC3D47B}"/>
                </a:ext>
              </a:extLst>
            </p:cNvPr>
            <p:cNvSpPr/>
            <p:nvPr/>
          </p:nvSpPr>
          <p:spPr>
            <a:xfrm>
              <a:off x="-622787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E7CD5125-01C4-4318-A36F-F11FE426FF77}"/>
                </a:ext>
              </a:extLst>
            </p:cNvPr>
            <p:cNvSpPr/>
            <p:nvPr/>
          </p:nvSpPr>
          <p:spPr>
            <a:xfrm>
              <a:off x="-622787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A7C14839-A7B0-4623-9E37-DEED89FF5132}"/>
                </a:ext>
              </a:extLst>
            </p:cNvPr>
            <p:cNvSpPr/>
            <p:nvPr/>
          </p:nvSpPr>
          <p:spPr>
            <a:xfrm>
              <a:off x="-4820329"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7FDBAB5-40F9-4D75-BF2D-BBFD912B4D67}"/>
                </a:ext>
              </a:extLst>
            </p:cNvPr>
            <p:cNvSpPr/>
            <p:nvPr/>
          </p:nvSpPr>
          <p:spPr>
            <a:xfrm>
              <a:off x="-4820329"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E5003137-264A-4CFB-A862-CF6D5A72809C}"/>
                </a:ext>
              </a:extLst>
            </p:cNvPr>
            <p:cNvSpPr/>
            <p:nvPr/>
          </p:nvSpPr>
          <p:spPr>
            <a:xfrm>
              <a:off x="-341277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4CB3B9D-A7E7-4421-AACD-AB16134D92AC}"/>
                </a:ext>
              </a:extLst>
            </p:cNvPr>
            <p:cNvSpPr/>
            <p:nvPr/>
          </p:nvSpPr>
          <p:spPr>
            <a:xfrm>
              <a:off x="-34127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EBBE447C-5EF9-4E1C-9470-8DAA1CB7A96F}"/>
                </a:ext>
              </a:extLst>
            </p:cNvPr>
            <p:cNvSpPr/>
            <p:nvPr/>
          </p:nvSpPr>
          <p:spPr>
            <a:xfrm>
              <a:off x="-2005228" y="28151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88" name="Freeform: Shape 287">
              <a:extLst>
                <a:ext uri="{FF2B5EF4-FFF2-40B4-BE49-F238E27FC236}">
                  <a16:creationId xmlns:a16="http://schemas.microsoft.com/office/drawing/2014/main" id="{7D1737C4-55CF-4E77-B03D-B95E631BA048}"/>
                </a:ext>
              </a:extLst>
            </p:cNvPr>
            <p:cNvSpPr/>
            <p:nvPr/>
          </p:nvSpPr>
          <p:spPr>
            <a:xfrm>
              <a:off x="-200522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89" name="Freeform: Shape 288">
              <a:extLst>
                <a:ext uri="{FF2B5EF4-FFF2-40B4-BE49-F238E27FC236}">
                  <a16:creationId xmlns:a16="http://schemas.microsoft.com/office/drawing/2014/main" id="{14FD5F79-C146-4E3B-B1BA-BE50FB0AEA72}"/>
                </a:ext>
              </a:extLst>
            </p:cNvPr>
            <p:cNvSpPr/>
            <p:nvPr/>
          </p:nvSpPr>
          <p:spPr>
            <a:xfrm>
              <a:off x="-597678" y="28151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0" name="Freeform: Shape 289">
              <a:extLst>
                <a:ext uri="{FF2B5EF4-FFF2-40B4-BE49-F238E27FC236}">
                  <a16:creationId xmlns:a16="http://schemas.microsoft.com/office/drawing/2014/main" id="{12688EF7-081F-47AD-965D-6B3158D146F5}"/>
                </a:ext>
              </a:extLst>
            </p:cNvPr>
            <p:cNvSpPr/>
            <p:nvPr/>
          </p:nvSpPr>
          <p:spPr>
            <a:xfrm>
              <a:off x="-597678" y="28151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1" name="Freeform: Shape 290">
              <a:extLst>
                <a:ext uri="{FF2B5EF4-FFF2-40B4-BE49-F238E27FC236}">
                  <a16:creationId xmlns:a16="http://schemas.microsoft.com/office/drawing/2014/main" id="{C53F2DB1-8C8C-444F-8BCA-8D98DF0E25F9}"/>
                </a:ext>
              </a:extLst>
            </p:cNvPr>
            <p:cNvSpPr/>
            <p:nvPr/>
          </p:nvSpPr>
          <p:spPr>
            <a:xfrm>
              <a:off x="-622787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2" name="Freeform: Shape 291">
              <a:extLst>
                <a:ext uri="{FF2B5EF4-FFF2-40B4-BE49-F238E27FC236}">
                  <a16:creationId xmlns:a16="http://schemas.microsoft.com/office/drawing/2014/main" id="{470630C6-0E3F-4223-8B89-50CDE4F59709}"/>
                </a:ext>
              </a:extLst>
            </p:cNvPr>
            <p:cNvSpPr/>
            <p:nvPr/>
          </p:nvSpPr>
          <p:spPr>
            <a:xfrm>
              <a:off x="-6227879" y="4222651"/>
              <a:ext cx="1227221" cy="1227221"/>
            </a:xfrm>
            <a:custGeom>
              <a:avLst/>
              <a:gdLst>
                <a:gd name="connsiteX0" fmla="*/ 1227221 w 1227221"/>
                <a:gd name="connsiteY0" fmla="*/ 613611 h 1227221"/>
                <a:gd name="connsiteX1" fmla="*/ 613611 w 1227221"/>
                <a:gd name="connsiteY1" fmla="*/ 1227221 h 1227221"/>
                <a:gd name="connsiteX2" fmla="*/ 0 w 1227221"/>
                <a:gd name="connsiteY2" fmla="*/ 613611 h 1227221"/>
                <a:gd name="connsiteX3" fmla="*/ 613611 w 1227221"/>
                <a:gd name="connsiteY3" fmla="*/ 0 h 1227221"/>
                <a:gd name="connsiteX4" fmla="*/ 1227221 w 1227221"/>
                <a:gd name="connsiteY4" fmla="*/ 613611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1"/>
                  </a:moveTo>
                  <a:cubicBezTo>
                    <a:pt x="1227221" y="952498"/>
                    <a:pt x="952498" y="1227221"/>
                    <a:pt x="613611" y="1227221"/>
                  </a:cubicBezTo>
                  <a:cubicBezTo>
                    <a:pt x="274723" y="1227221"/>
                    <a:pt x="0" y="952498"/>
                    <a:pt x="0" y="613611"/>
                  </a:cubicBezTo>
                  <a:cubicBezTo>
                    <a:pt x="0" y="274723"/>
                    <a:pt x="274723" y="0"/>
                    <a:pt x="613611" y="0"/>
                  </a:cubicBezTo>
                  <a:cubicBezTo>
                    <a:pt x="952498" y="0"/>
                    <a:pt x="1227221" y="274723"/>
                    <a:pt x="1227221" y="613611"/>
                  </a:cubicBezTo>
                  <a:close/>
                </a:path>
              </a:pathLst>
            </a:custGeom>
            <a:solidFill>
              <a:srgbClr val="50E6FF"/>
            </a:solidFill>
            <a:ln w="7219" cap="flat">
              <a:noFill/>
              <a:prstDash val="solid"/>
              <a:miter/>
            </a:ln>
          </p:spPr>
          <p:txBody>
            <a:bodyPr rtlCol="0" anchor="ctr"/>
            <a:lstStyle/>
            <a:p>
              <a:endParaRPr lang="en-US" sz="1800"/>
            </a:p>
          </p:txBody>
        </p:sp>
        <p:sp>
          <p:nvSpPr>
            <p:cNvPr id="293" name="Freeform: Shape 292">
              <a:extLst>
                <a:ext uri="{FF2B5EF4-FFF2-40B4-BE49-F238E27FC236}">
                  <a16:creationId xmlns:a16="http://schemas.microsoft.com/office/drawing/2014/main" id="{86A20C54-DB24-43A3-8DE9-211DBC27A889}"/>
                </a:ext>
              </a:extLst>
            </p:cNvPr>
            <p:cNvSpPr/>
            <p:nvPr/>
          </p:nvSpPr>
          <p:spPr>
            <a:xfrm>
              <a:off x="-4820329"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4" name="Freeform: Shape 293">
              <a:extLst>
                <a:ext uri="{FF2B5EF4-FFF2-40B4-BE49-F238E27FC236}">
                  <a16:creationId xmlns:a16="http://schemas.microsoft.com/office/drawing/2014/main" id="{293A437D-ADCA-4AF2-B567-A92D622C6CD9}"/>
                </a:ext>
              </a:extLst>
            </p:cNvPr>
            <p:cNvSpPr/>
            <p:nvPr/>
          </p:nvSpPr>
          <p:spPr>
            <a:xfrm>
              <a:off x="-4820329"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5" name="Freeform: Shape 294">
              <a:extLst>
                <a:ext uri="{FF2B5EF4-FFF2-40B4-BE49-F238E27FC236}">
                  <a16:creationId xmlns:a16="http://schemas.microsoft.com/office/drawing/2014/main" id="{3DD24260-019F-4063-8C13-DF891912BB72}"/>
                </a:ext>
              </a:extLst>
            </p:cNvPr>
            <p:cNvSpPr/>
            <p:nvPr/>
          </p:nvSpPr>
          <p:spPr>
            <a:xfrm>
              <a:off x="-341277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6" name="Freeform: Shape 295">
              <a:extLst>
                <a:ext uri="{FF2B5EF4-FFF2-40B4-BE49-F238E27FC236}">
                  <a16:creationId xmlns:a16="http://schemas.microsoft.com/office/drawing/2014/main" id="{B42A1882-F1A5-4B03-92F7-223F64352643}"/>
                </a:ext>
              </a:extLst>
            </p:cNvPr>
            <p:cNvSpPr/>
            <p:nvPr/>
          </p:nvSpPr>
          <p:spPr>
            <a:xfrm>
              <a:off x="-34127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7" name="Freeform: Shape 296">
              <a:extLst>
                <a:ext uri="{FF2B5EF4-FFF2-40B4-BE49-F238E27FC236}">
                  <a16:creationId xmlns:a16="http://schemas.microsoft.com/office/drawing/2014/main" id="{53D12CA3-5437-4FDB-B63C-6E605D7B8935}"/>
                </a:ext>
              </a:extLst>
            </p:cNvPr>
            <p:cNvSpPr/>
            <p:nvPr/>
          </p:nvSpPr>
          <p:spPr>
            <a:xfrm>
              <a:off x="-2005228" y="422265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298" name="Freeform: Shape 297">
              <a:extLst>
                <a:ext uri="{FF2B5EF4-FFF2-40B4-BE49-F238E27FC236}">
                  <a16:creationId xmlns:a16="http://schemas.microsoft.com/office/drawing/2014/main" id="{93CD0616-ED72-4CF5-AD82-85BB712289E8}"/>
                </a:ext>
              </a:extLst>
            </p:cNvPr>
            <p:cNvSpPr/>
            <p:nvPr/>
          </p:nvSpPr>
          <p:spPr>
            <a:xfrm>
              <a:off x="-200522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299" name="Freeform: Shape 298">
              <a:extLst>
                <a:ext uri="{FF2B5EF4-FFF2-40B4-BE49-F238E27FC236}">
                  <a16:creationId xmlns:a16="http://schemas.microsoft.com/office/drawing/2014/main" id="{90CDB697-4143-42DA-9699-CB2720679FAC}"/>
                </a:ext>
              </a:extLst>
            </p:cNvPr>
            <p:cNvSpPr/>
            <p:nvPr/>
          </p:nvSpPr>
          <p:spPr>
            <a:xfrm>
              <a:off x="-597678" y="422265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0" name="Freeform: Shape 299">
              <a:extLst>
                <a:ext uri="{FF2B5EF4-FFF2-40B4-BE49-F238E27FC236}">
                  <a16:creationId xmlns:a16="http://schemas.microsoft.com/office/drawing/2014/main" id="{B98144DE-6AB2-4933-994C-9686FCDFA2C3}"/>
                </a:ext>
              </a:extLst>
            </p:cNvPr>
            <p:cNvSpPr/>
            <p:nvPr/>
          </p:nvSpPr>
          <p:spPr>
            <a:xfrm>
              <a:off x="-597678" y="422265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1" name="Freeform: Shape 300">
              <a:extLst>
                <a:ext uri="{FF2B5EF4-FFF2-40B4-BE49-F238E27FC236}">
                  <a16:creationId xmlns:a16="http://schemas.microsoft.com/office/drawing/2014/main" id="{79484A96-CC9A-4FB6-B5D5-CC321C37B311}"/>
                </a:ext>
              </a:extLst>
            </p:cNvPr>
            <p:cNvSpPr/>
            <p:nvPr/>
          </p:nvSpPr>
          <p:spPr>
            <a:xfrm>
              <a:off x="-622787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2" name="Freeform: Shape 301">
              <a:extLst>
                <a:ext uri="{FF2B5EF4-FFF2-40B4-BE49-F238E27FC236}">
                  <a16:creationId xmlns:a16="http://schemas.microsoft.com/office/drawing/2014/main" id="{19F6E2F0-8187-4210-8799-61C93A0AF63B}"/>
                </a:ext>
              </a:extLst>
            </p:cNvPr>
            <p:cNvSpPr/>
            <p:nvPr/>
          </p:nvSpPr>
          <p:spPr>
            <a:xfrm>
              <a:off x="-6227879"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238"/>
                    <a:pt x="14077" y="613611"/>
                  </a:cubicBezTo>
                  <a:cubicBezTo>
                    <a:pt x="14077" y="282983"/>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468"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3" name="Freeform: Shape 302">
              <a:extLst>
                <a:ext uri="{FF2B5EF4-FFF2-40B4-BE49-F238E27FC236}">
                  <a16:creationId xmlns:a16="http://schemas.microsoft.com/office/drawing/2014/main" id="{8F821E91-2119-46E5-87CB-7AD5144AC9C7}"/>
                </a:ext>
              </a:extLst>
            </p:cNvPr>
            <p:cNvSpPr/>
            <p:nvPr/>
          </p:nvSpPr>
          <p:spPr>
            <a:xfrm>
              <a:off x="-4820329"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4" name="Freeform: Shape 303">
              <a:extLst>
                <a:ext uri="{FF2B5EF4-FFF2-40B4-BE49-F238E27FC236}">
                  <a16:creationId xmlns:a16="http://schemas.microsoft.com/office/drawing/2014/main" id="{35CB957A-86AD-4999-AA6C-23114E27DB77}"/>
                </a:ext>
              </a:extLst>
            </p:cNvPr>
            <p:cNvSpPr/>
            <p:nvPr/>
          </p:nvSpPr>
          <p:spPr>
            <a:xfrm>
              <a:off x="-4820329" y="5630201"/>
              <a:ext cx="1227221" cy="1227221"/>
            </a:xfrm>
            <a:custGeom>
              <a:avLst/>
              <a:gdLst>
                <a:gd name="connsiteX0" fmla="*/ 1227221 w 1227221"/>
                <a:gd name="connsiteY0" fmla="*/ 613610 h 1227221"/>
                <a:gd name="connsiteX1" fmla="*/ 613611 w 1227221"/>
                <a:gd name="connsiteY1" fmla="*/ 1227221 h 1227221"/>
                <a:gd name="connsiteX2" fmla="*/ 0 w 1227221"/>
                <a:gd name="connsiteY2" fmla="*/ 613610 h 1227221"/>
                <a:gd name="connsiteX3" fmla="*/ 613611 w 1227221"/>
                <a:gd name="connsiteY3" fmla="*/ 0 h 1227221"/>
                <a:gd name="connsiteX4" fmla="*/ 1227221 w 1227221"/>
                <a:gd name="connsiteY4" fmla="*/ 613610 h 122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221" h="1227221">
                  <a:moveTo>
                    <a:pt x="1227221" y="613610"/>
                  </a:moveTo>
                  <a:cubicBezTo>
                    <a:pt x="1227221" y="952498"/>
                    <a:pt x="952498" y="1227221"/>
                    <a:pt x="613611" y="1227221"/>
                  </a:cubicBezTo>
                  <a:cubicBezTo>
                    <a:pt x="274723" y="1227221"/>
                    <a:pt x="0" y="952498"/>
                    <a:pt x="0" y="613610"/>
                  </a:cubicBezTo>
                  <a:cubicBezTo>
                    <a:pt x="0" y="274723"/>
                    <a:pt x="274723" y="0"/>
                    <a:pt x="613611" y="0"/>
                  </a:cubicBezTo>
                  <a:cubicBezTo>
                    <a:pt x="952498" y="0"/>
                    <a:pt x="1227221" y="274723"/>
                    <a:pt x="1227221" y="613610"/>
                  </a:cubicBezTo>
                  <a:close/>
                </a:path>
              </a:pathLst>
            </a:custGeom>
            <a:solidFill>
              <a:srgbClr val="0078D4"/>
            </a:solidFill>
            <a:ln w="7219" cap="flat">
              <a:noFill/>
              <a:prstDash val="solid"/>
              <a:miter/>
            </a:ln>
          </p:spPr>
          <p:txBody>
            <a:bodyPr rtlCol="0" anchor="ctr"/>
            <a:lstStyle/>
            <a:p>
              <a:endParaRPr lang="en-US" sz="1800"/>
            </a:p>
          </p:txBody>
        </p:sp>
        <p:sp>
          <p:nvSpPr>
            <p:cNvPr id="305" name="Freeform: Shape 304">
              <a:extLst>
                <a:ext uri="{FF2B5EF4-FFF2-40B4-BE49-F238E27FC236}">
                  <a16:creationId xmlns:a16="http://schemas.microsoft.com/office/drawing/2014/main" id="{8E12B4BE-F042-4FA3-B3C5-552EF9B54774}"/>
                </a:ext>
              </a:extLst>
            </p:cNvPr>
            <p:cNvSpPr/>
            <p:nvPr/>
          </p:nvSpPr>
          <p:spPr>
            <a:xfrm>
              <a:off x="-341277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6" name="Freeform: Shape 305">
              <a:extLst>
                <a:ext uri="{FF2B5EF4-FFF2-40B4-BE49-F238E27FC236}">
                  <a16:creationId xmlns:a16="http://schemas.microsoft.com/office/drawing/2014/main" id="{453BC34C-30D9-40CD-8569-50E9028349B8}"/>
                </a:ext>
              </a:extLst>
            </p:cNvPr>
            <p:cNvSpPr/>
            <p:nvPr/>
          </p:nvSpPr>
          <p:spPr>
            <a:xfrm>
              <a:off x="-34127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7" name="Freeform: Shape 306">
              <a:extLst>
                <a:ext uri="{FF2B5EF4-FFF2-40B4-BE49-F238E27FC236}">
                  <a16:creationId xmlns:a16="http://schemas.microsoft.com/office/drawing/2014/main" id="{F377112D-4250-43E9-BD50-E3A88193A01B}"/>
                </a:ext>
              </a:extLst>
            </p:cNvPr>
            <p:cNvSpPr/>
            <p:nvPr/>
          </p:nvSpPr>
          <p:spPr>
            <a:xfrm>
              <a:off x="-2005228" y="5630201"/>
              <a:ext cx="1227221" cy="1227221"/>
            </a:xfrm>
            <a:custGeom>
              <a:avLst/>
              <a:gdLst>
                <a:gd name="connsiteX0" fmla="*/ 1213144 w 1227221"/>
                <a:gd name="connsiteY0" fmla="*/ 14077 h 1227221"/>
                <a:gd name="connsiteX1" fmla="*/ 1213144 w 1227221"/>
                <a:gd name="connsiteY1" fmla="*/ 1213144 h 1227221"/>
                <a:gd name="connsiteX2" fmla="*/ 14077 w 1227221"/>
                <a:gd name="connsiteY2" fmla="*/ 1213144 h 1227221"/>
                <a:gd name="connsiteX3" fmla="*/ 14077 w 1227221"/>
                <a:gd name="connsiteY3" fmla="*/ 14077 h 1227221"/>
                <a:gd name="connsiteX4" fmla="*/ 1213144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144" y="14077"/>
                  </a:moveTo>
                  <a:lnTo>
                    <a:pt x="1213144" y="1213144"/>
                  </a:lnTo>
                  <a:lnTo>
                    <a:pt x="14077" y="1213144"/>
                  </a:lnTo>
                  <a:lnTo>
                    <a:pt x="14077" y="14077"/>
                  </a:lnTo>
                  <a:lnTo>
                    <a:pt x="1213144"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08" name="Freeform: Shape 307">
              <a:extLst>
                <a:ext uri="{FF2B5EF4-FFF2-40B4-BE49-F238E27FC236}">
                  <a16:creationId xmlns:a16="http://schemas.microsoft.com/office/drawing/2014/main" id="{A5FF06BF-EAE1-450C-A685-3048EFC30770}"/>
                </a:ext>
              </a:extLst>
            </p:cNvPr>
            <p:cNvSpPr/>
            <p:nvPr/>
          </p:nvSpPr>
          <p:spPr>
            <a:xfrm>
              <a:off x="-200522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sp>
          <p:nvSpPr>
            <p:cNvPr id="309" name="Freeform: Shape 308">
              <a:extLst>
                <a:ext uri="{FF2B5EF4-FFF2-40B4-BE49-F238E27FC236}">
                  <a16:creationId xmlns:a16="http://schemas.microsoft.com/office/drawing/2014/main" id="{B298EF11-F529-45EE-AA85-98C51FC5C82F}"/>
                </a:ext>
              </a:extLst>
            </p:cNvPr>
            <p:cNvSpPr/>
            <p:nvPr/>
          </p:nvSpPr>
          <p:spPr>
            <a:xfrm>
              <a:off x="-597678" y="5630201"/>
              <a:ext cx="1227221" cy="1227221"/>
            </a:xfrm>
            <a:custGeom>
              <a:avLst/>
              <a:gdLst>
                <a:gd name="connsiteX0" fmla="*/ 1213216 w 1227221"/>
                <a:gd name="connsiteY0" fmla="*/ 14077 h 1227221"/>
                <a:gd name="connsiteX1" fmla="*/ 1213216 w 1227221"/>
                <a:gd name="connsiteY1" fmla="*/ 1213144 h 1227221"/>
                <a:gd name="connsiteX2" fmla="*/ 14149 w 1227221"/>
                <a:gd name="connsiteY2" fmla="*/ 1213144 h 1227221"/>
                <a:gd name="connsiteX3" fmla="*/ 14149 w 1227221"/>
                <a:gd name="connsiteY3" fmla="*/ 14077 h 1227221"/>
                <a:gd name="connsiteX4" fmla="*/ 1213216 w 1227221"/>
                <a:gd name="connsiteY4" fmla="*/ 14077 h 1227221"/>
                <a:gd name="connsiteX5" fmla="*/ 1227221 w 1227221"/>
                <a:gd name="connsiteY5" fmla="*/ 0 h 1227221"/>
                <a:gd name="connsiteX6" fmla="*/ 0 w 1227221"/>
                <a:gd name="connsiteY6" fmla="*/ 0 h 1227221"/>
                <a:gd name="connsiteX7" fmla="*/ 0 w 1227221"/>
                <a:gd name="connsiteY7" fmla="*/ 1227221 h 1227221"/>
                <a:gd name="connsiteX8" fmla="*/ 1227221 w 1227221"/>
                <a:gd name="connsiteY8" fmla="*/ 1227221 h 1227221"/>
                <a:gd name="connsiteX9" fmla="*/ 1227221 w 1227221"/>
                <a:gd name="connsiteY9" fmla="*/ 0 h 1227221"/>
                <a:gd name="connsiteX10" fmla="*/ 122722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1213216" y="14077"/>
                  </a:moveTo>
                  <a:lnTo>
                    <a:pt x="1213216" y="1213144"/>
                  </a:lnTo>
                  <a:lnTo>
                    <a:pt x="14149" y="1213144"/>
                  </a:lnTo>
                  <a:lnTo>
                    <a:pt x="14149" y="14077"/>
                  </a:lnTo>
                  <a:lnTo>
                    <a:pt x="1213216" y="14077"/>
                  </a:lnTo>
                  <a:moveTo>
                    <a:pt x="1227221" y="0"/>
                  </a:moveTo>
                  <a:lnTo>
                    <a:pt x="0" y="0"/>
                  </a:lnTo>
                  <a:lnTo>
                    <a:pt x="0" y="1227221"/>
                  </a:lnTo>
                  <a:lnTo>
                    <a:pt x="1227221" y="1227221"/>
                  </a:lnTo>
                  <a:lnTo>
                    <a:pt x="1227221" y="0"/>
                  </a:lnTo>
                  <a:lnTo>
                    <a:pt x="1227221" y="0"/>
                  </a:lnTo>
                  <a:close/>
                </a:path>
              </a:pathLst>
            </a:custGeom>
            <a:solidFill>
              <a:srgbClr val="0078D4"/>
            </a:solidFill>
            <a:ln w="7219" cap="flat">
              <a:noFill/>
              <a:prstDash val="solid"/>
              <a:miter/>
            </a:ln>
          </p:spPr>
          <p:txBody>
            <a:bodyPr rtlCol="0" anchor="ctr"/>
            <a:lstStyle/>
            <a:p>
              <a:endParaRPr lang="en-US" sz="1800"/>
            </a:p>
          </p:txBody>
        </p:sp>
        <p:sp>
          <p:nvSpPr>
            <p:cNvPr id="310" name="Freeform: Shape 309">
              <a:extLst>
                <a:ext uri="{FF2B5EF4-FFF2-40B4-BE49-F238E27FC236}">
                  <a16:creationId xmlns:a16="http://schemas.microsoft.com/office/drawing/2014/main" id="{EDB12714-FD91-48B4-B7E1-F071EE842EEC}"/>
                </a:ext>
              </a:extLst>
            </p:cNvPr>
            <p:cNvSpPr/>
            <p:nvPr/>
          </p:nvSpPr>
          <p:spPr>
            <a:xfrm>
              <a:off x="-597678" y="5630201"/>
              <a:ext cx="1227221" cy="1227221"/>
            </a:xfrm>
            <a:custGeom>
              <a:avLst/>
              <a:gdLst>
                <a:gd name="connsiteX0" fmla="*/ 613611 w 1227221"/>
                <a:gd name="connsiteY0" fmla="*/ 14077 h 1227221"/>
                <a:gd name="connsiteX1" fmla="*/ 1213144 w 1227221"/>
                <a:gd name="connsiteY1" fmla="*/ 613611 h 1227221"/>
                <a:gd name="connsiteX2" fmla="*/ 613611 w 1227221"/>
                <a:gd name="connsiteY2" fmla="*/ 1213144 h 1227221"/>
                <a:gd name="connsiteX3" fmla="*/ 14077 w 1227221"/>
                <a:gd name="connsiteY3" fmla="*/ 613611 h 1227221"/>
                <a:gd name="connsiteX4" fmla="*/ 613611 w 1227221"/>
                <a:gd name="connsiteY4" fmla="*/ 14077 h 1227221"/>
                <a:gd name="connsiteX5" fmla="*/ 613611 w 1227221"/>
                <a:gd name="connsiteY5" fmla="*/ 0 h 1227221"/>
                <a:gd name="connsiteX6" fmla="*/ 0 w 1227221"/>
                <a:gd name="connsiteY6" fmla="*/ 613611 h 1227221"/>
                <a:gd name="connsiteX7" fmla="*/ 613611 w 1227221"/>
                <a:gd name="connsiteY7" fmla="*/ 1227221 h 1227221"/>
                <a:gd name="connsiteX8" fmla="*/ 1227221 w 1227221"/>
                <a:gd name="connsiteY8" fmla="*/ 613611 h 1227221"/>
                <a:gd name="connsiteX9" fmla="*/ 613611 w 1227221"/>
                <a:gd name="connsiteY9" fmla="*/ 0 h 1227221"/>
                <a:gd name="connsiteX10" fmla="*/ 613611 w 1227221"/>
                <a:gd name="connsiteY10" fmla="*/ 0 h 12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21" h="1227221">
                  <a:moveTo>
                    <a:pt x="613611" y="14077"/>
                  </a:moveTo>
                  <a:cubicBezTo>
                    <a:pt x="944166" y="14077"/>
                    <a:pt x="1213144" y="283055"/>
                    <a:pt x="1213144" y="613611"/>
                  </a:cubicBezTo>
                  <a:cubicBezTo>
                    <a:pt x="1213144" y="944166"/>
                    <a:pt x="944166" y="1213144"/>
                    <a:pt x="613611" y="1213144"/>
                  </a:cubicBezTo>
                  <a:cubicBezTo>
                    <a:pt x="283055" y="1213144"/>
                    <a:pt x="14077" y="944166"/>
                    <a:pt x="14077" y="613611"/>
                  </a:cubicBezTo>
                  <a:cubicBezTo>
                    <a:pt x="14077" y="283055"/>
                    <a:pt x="283055" y="14077"/>
                    <a:pt x="613611" y="14077"/>
                  </a:cubicBezTo>
                  <a:moveTo>
                    <a:pt x="613611" y="0"/>
                  </a:moveTo>
                  <a:cubicBezTo>
                    <a:pt x="274753" y="0"/>
                    <a:pt x="0" y="274753"/>
                    <a:pt x="0" y="613611"/>
                  </a:cubicBezTo>
                  <a:cubicBezTo>
                    <a:pt x="0" y="952468"/>
                    <a:pt x="274753" y="1227221"/>
                    <a:pt x="613611" y="1227221"/>
                  </a:cubicBezTo>
                  <a:cubicBezTo>
                    <a:pt x="952468" y="1227221"/>
                    <a:pt x="1227221" y="952468"/>
                    <a:pt x="1227221" y="613611"/>
                  </a:cubicBezTo>
                  <a:cubicBezTo>
                    <a:pt x="1227221" y="274753"/>
                    <a:pt x="952540" y="0"/>
                    <a:pt x="613611" y="0"/>
                  </a:cubicBezTo>
                  <a:lnTo>
                    <a:pt x="613611" y="0"/>
                  </a:lnTo>
                  <a:close/>
                </a:path>
              </a:pathLst>
            </a:custGeom>
            <a:solidFill>
              <a:srgbClr val="0078D4"/>
            </a:solidFill>
            <a:ln w="7219"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4656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Dark-4">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3"/>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4358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IOT white Title-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0" y="1122363"/>
            <a:ext cx="5538818"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0" y="3602038"/>
            <a:ext cx="5538818"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9363" y="663268"/>
            <a:ext cx="5545182" cy="5531464"/>
          </a:xfrm>
          <a:prstGeom prst="rect">
            <a:avLst/>
          </a:prstGeom>
        </p:spPr>
      </p:pic>
      <p:grpSp>
        <p:nvGrpSpPr>
          <p:cNvPr id="14" name="Group 13">
            <a:extLst>
              <a:ext uri="{FF2B5EF4-FFF2-40B4-BE49-F238E27FC236}">
                <a16:creationId xmlns:a16="http://schemas.microsoft.com/office/drawing/2014/main" id="{016A30FB-FBA4-4E54-A9F9-41B7174CD74D}"/>
              </a:ext>
            </a:extLst>
          </p:cNvPr>
          <p:cNvGrpSpPr/>
          <p:nvPr userDrawn="1"/>
        </p:nvGrpSpPr>
        <p:grpSpPr>
          <a:xfrm>
            <a:off x="553824" y="547296"/>
            <a:ext cx="1554197" cy="330567"/>
            <a:chOff x="7353301" y="-1897063"/>
            <a:chExt cx="5749290" cy="1225867"/>
          </a:xfrm>
        </p:grpSpPr>
        <p:sp>
          <p:nvSpPr>
            <p:cNvPr id="15" name="Freeform: Shape 14">
              <a:extLst>
                <a:ext uri="{FF2B5EF4-FFF2-40B4-BE49-F238E27FC236}">
                  <a16:creationId xmlns:a16="http://schemas.microsoft.com/office/drawing/2014/main" id="{E8D4F7FC-103B-428D-9E53-066B32868CF8}"/>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BA8AFF08-436C-4016-A432-FBE405873F67}"/>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6CDA290B-C95B-495B-BFA3-E0DA1E0204A9}"/>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29D1D12F-230F-4CE5-88EA-EF4AB6773184}"/>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9" name="Freeform: Shape 18">
              <a:extLst>
                <a:ext uri="{FF2B5EF4-FFF2-40B4-BE49-F238E27FC236}">
                  <a16:creationId xmlns:a16="http://schemas.microsoft.com/office/drawing/2014/main" id="{A797F938-04FC-4B9E-B191-30AF353420E6}"/>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7640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4"/>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descr="A picture containing device, fan, web&#10;&#10;Description automatically generated">
            <a:extLst>
              <a:ext uri="{FF2B5EF4-FFF2-40B4-BE49-F238E27FC236}">
                <a16:creationId xmlns:a16="http://schemas.microsoft.com/office/drawing/2014/main" id="{AFAF1DC2-7184-4C1A-9BAB-7BF2947CFD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153976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Logo dark backgroun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45050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Logo white backgroun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1"/>
                </a:solidFill>
              </a:defRPr>
            </a:lvl1pPr>
          </a:lstStyle>
          <a:p>
            <a:endParaRPr lang="en-IN"/>
          </a:p>
        </p:txBody>
      </p:sp>
      <p:grpSp>
        <p:nvGrpSpPr>
          <p:cNvPr id="7" name="Group 6">
            <a:extLst>
              <a:ext uri="{FF2B5EF4-FFF2-40B4-BE49-F238E27FC236}">
                <a16:creationId xmlns:a16="http://schemas.microsoft.com/office/drawing/2014/main" id="{9B362EF1-2988-4403-A3C8-C72CA6DE0D3D}"/>
              </a:ext>
            </a:extLst>
          </p:cNvPr>
          <p:cNvGrpSpPr/>
          <p:nvPr userDrawn="1"/>
        </p:nvGrpSpPr>
        <p:grpSpPr>
          <a:xfrm>
            <a:off x="5318903" y="3263719"/>
            <a:ext cx="1554197" cy="330567"/>
            <a:chOff x="7353301" y="-1897063"/>
            <a:chExt cx="5749290" cy="1225867"/>
          </a:xfrm>
        </p:grpSpPr>
        <p:sp>
          <p:nvSpPr>
            <p:cNvPr id="8" name="Freeform: Shape 7">
              <a:extLst>
                <a:ext uri="{FF2B5EF4-FFF2-40B4-BE49-F238E27FC236}">
                  <a16:creationId xmlns:a16="http://schemas.microsoft.com/office/drawing/2014/main" id="{3FC215F4-E829-40B3-AF89-C2C169FD81BB}"/>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79168AD1-DA5A-4F02-94CF-900D978C8843}"/>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2DB99652-FA2A-4F27-B178-B1097BBF86C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BE9F5BC5-4146-416D-8FD0-3887606F5DB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31E88531-CD36-4398-B789-1F3C19138CCF}"/>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61755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00367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14" indent="-28391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519" indent="-27460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433" indent="-28391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5840" indent="-22340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248" indent="-223409">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5"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8735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7" y="2773637"/>
            <a:ext cx="9601813" cy="731565"/>
          </a:xfrm>
          <a:noFill/>
        </p:spPr>
        <p:txBody>
          <a:bodyPr vert="horz" wrap="square" lIns="0" tIns="0" rIns="0" bIns="0" rtlCol="0" anchor="t" anchorCtr="0">
            <a:noAutofit/>
          </a:bodyPr>
          <a:lstStyle>
            <a:lvl1pPr>
              <a:lnSpc>
                <a:spcPct val="90000"/>
              </a:lnSpc>
              <a:defRPr lang="en-US" sz="5290" b="0" kern="1200" cap="none" spc="-147" baseline="0" dirty="0">
                <a:ln w="3175">
                  <a:noFill/>
                </a:ln>
                <a:solidFill>
                  <a:schemeClr val="tx1"/>
                </a:solidFill>
                <a:effectLst/>
                <a:latin typeface="+mj-lt"/>
                <a:ea typeface="+mn-ea"/>
                <a:cs typeface="Segoe UI" pitchFamily="34" charset="0"/>
              </a:defRPr>
            </a:lvl1pPr>
          </a:lstStyle>
          <a:p>
            <a:pPr marL="0" lvl="0" algn="l" defTabSz="913665" rtl="0" eaLnBrk="1" latinLnBrk="0" hangingPunct="1">
              <a:lnSpc>
                <a:spcPts val="548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2" y="6430905"/>
            <a:ext cx="11326085" cy="94962"/>
            <a:chOff x="445128" y="6559056"/>
            <a:chExt cx="11553197" cy="96856"/>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6"/>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400"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50"/>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2029557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4FE9F-E0EF-4871-A565-E56D7299A0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31447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3973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6" y="2773636"/>
            <a:ext cx="9601813" cy="731565"/>
          </a:xfrm>
          <a:noFill/>
        </p:spPr>
        <p:txBody>
          <a:bodyPr vert="horz" wrap="square" lIns="0" tIns="0" rIns="0" bIns="0" rtlCol="0" anchor="t" anchorCtr="0">
            <a:noAutofit/>
          </a:bodyPr>
          <a:lstStyle>
            <a:lvl1pPr>
              <a:lnSpc>
                <a:spcPct val="90000"/>
              </a:lnSpc>
              <a:defRPr lang="en-US" sz="5291" b="0" kern="1200" cap="none" spc="-147" baseline="0" dirty="0">
                <a:ln w="3175">
                  <a:noFill/>
                </a:ln>
                <a:solidFill>
                  <a:schemeClr val="tx1"/>
                </a:solidFill>
                <a:effectLst/>
                <a:latin typeface="+mj-lt"/>
                <a:ea typeface="+mn-ea"/>
                <a:cs typeface="Segoe UI" pitchFamily="34" charset="0"/>
              </a:defRPr>
            </a:lvl1pPr>
          </a:lstStyle>
          <a:p>
            <a:pPr marL="0" lvl="0" algn="l" defTabSz="913841" rtl="0" eaLnBrk="1" latinLnBrk="0" hangingPunct="1">
              <a:lnSpc>
                <a:spcPts val="548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1" y="6430938"/>
            <a:ext cx="11326085" cy="94962"/>
            <a:chOff x="445128" y="6559056"/>
            <a:chExt cx="11553197" cy="96855"/>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434975" y="2342749"/>
            <a:ext cx="8426450" cy="4308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193599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48608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IOT dark Title-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25006" y="1122363"/>
            <a:ext cx="7263935" cy="2387600"/>
          </a:xfrm>
        </p:spPr>
        <p:txBody>
          <a:bodyPr rIns="0" anchor="b"/>
          <a:lstStyle>
            <a:lvl1pPr algn="l">
              <a:defRPr sz="4800">
                <a:solidFill>
                  <a:schemeClr val="tx2"/>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3"/>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Tree>
    <p:extLst>
      <p:ext uri="{BB962C8B-B14F-4D97-AF65-F5344CB8AC3E}">
        <p14:creationId xmlns:p14="http://schemas.microsoft.com/office/powerpoint/2010/main" val="237579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endParaRPr lang="en-US">
              <a:solidFill>
                <a:schemeClr val="bg1">
                  <a:lumMod val="65000"/>
                </a:schemeClr>
              </a:solidFill>
            </a:endParaRPr>
          </a:p>
        </p:txBody>
      </p:sp>
    </p:spTree>
    <p:extLst>
      <p:ext uri="{BB962C8B-B14F-4D97-AF65-F5344CB8AC3E}">
        <p14:creationId xmlns:p14="http://schemas.microsoft.com/office/powerpoint/2010/main" val="345226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190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21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
        <p:nvSpPr>
          <p:cNvPr id="5" name="Slide Number Placeholder 4"/>
          <p:cNvSpPr>
            <a:spLocks noGrp="1"/>
          </p:cNvSpPr>
          <p:nvPr>
            <p:ph type="sldNum" sz="quarter" idx="4"/>
          </p:nvPr>
        </p:nvSpPr>
        <p:spPr>
          <a:xfrm>
            <a:off x="11305715" y="6680712"/>
            <a:ext cx="566737" cy="137160"/>
          </a:xfrm>
          <a:prstGeom prst="rect">
            <a:avLst/>
          </a:prstGeom>
        </p:spPr>
        <p:txBody>
          <a:bodyPr vert="horz" lIns="91440" tIns="0" rIns="0" bIns="0" rtlCol="0" anchor="ctr"/>
          <a:lstStyle>
            <a:lvl1pPr algn="r">
              <a:defRPr lang="en-US" sz="900" b="0" kern="1200" smtClean="0">
                <a:solidFill>
                  <a:schemeClr val="tx1"/>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892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321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p:txBody>
          <a:bodyPr/>
          <a:lstStyle/>
          <a:p>
            <a:fld id="{03DC238B-AEB9-4225-9074-6EE3B0E27503}" type="slidenum">
              <a:rPr lang="en-US" smtClean="0"/>
              <a:t>‹#›</a:t>
            </a:fld>
            <a:endParaRPr lang="en-US"/>
          </a:p>
        </p:txBody>
      </p:sp>
    </p:spTree>
    <p:extLst>
      <p:ext uri="{BB962C8B-B14F-4D97-AF65-F5344CB8AC3E}">
        <p14:creationId xmlns:p14="http://schemas.microsoft.com/office/powerpoint/2010/main" val="142712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33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26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4" name="Footer Placeholder 3"/>
          <p:cNvSpPr>
            <a:spLocks noGrp="1"/>
          </p:cNvSpPr>
          <p:nvPr>
            <p:ph type="ftr" sz="quarter" idx="11"/>
          </p:nvPr>
        </p:nvSpPr>
        <p:spPr/>
        <p:txBody>
          <a:body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25831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38824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IOT white Title-3">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device, fan, web&#10;&#10;Description automatically generated">
            <a:extLst>
              <a:ext uri="{FF2B5EF4-FFF2-40B4-BE49-F238E27FC236}">
                <a16:creationId xmlns:a16="http://schemas.microsoft.com/office/drawing/2014/main" id="{3B0F8754-6345-4046-9C1F-DB752BA0D9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2699"/>
            <a:ext cx="3434957" cy="6883398"/>
          </a:xfrm>
          <a:prstGeom prst="rect">
            <a:avLst/>
          </a:prstGeom>
        </p:spPr>
      </p:pic>
      <p:sp>
        <p:nvSpPr>
          <p:cNvPr id="2" name="Title 1"/>
          <p:cNvSpPr>
            <a:spLocks noGrp="1"/>
          </p:cNvSpPr>
          <p:nvPr>
            <p:ph type="ctrTitle"/>
          </p:nvPr>
        </p:nvSpPr>
        <p:spPr>
          <a:xfrm>
            <a:off x="4125006" y="1122363"/>
            <a:ext cx="7263935" cy="2387600"/>
          </a:xfrm>
        </p:spPr>
        <p:txBody>
          <a:bodyPr rIns="0" anchor="b"/>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4125006" y="3602038"/>
            <a:ext cx="7263935" cy="1655762"/>
          </a:xfrm>
        </p:spPr>
        <p:txBody>
          <a:bodyPr/>
          <a:lstStyle>
            <a:lvl1pPr marL="0" indent="0" algn="l">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grpSp>
        <p:nvGrpSpPr>
          <p:cNvPr id="7" name="Group 6">
            <a:extLst>
              <a:ext uri="{FF2B5EF4-FFF2-40B4-BE49-F238E27FC236}">
                <a16:creationId xmlns:a16="http://schemas.microsoft.com/office/drawing/2014/main" id="{6DC60F1E-E48C-467D-94CA-0BA8E30F8A39}"/>
              </a:ext>
            </a:extLst>
          </p:cNvPr>
          <p:cNvGrpSpPr/>
          <p:nvPr userDrawn="1"/>
        </p:nvGrpSpPr>
        <p:grpSpPr>
          <a:xfrm>
            <a:off x="10090351" y="547296"/>
            <a:ext cx="1554197" cy="330567"/>
            <a:chOff x="7353301" y="-1897063"/>
            <a:chExt cx="5749290" cy="1225867"/>
          </a:xfrm>
        </p:grpSpPr>
        <p:sp>
          <p:nvSpPr>
            <p:cNvPr id="8" name="Freeform: Shape 7">
              <a:extLst>
                <a:ext uri="{FF2B5EF4-FFF2-40B4-BE49-F238E27FC236}">
                  <a16:creationId xmlns:a16="http://schemas.microsoft.com/office/drawing/2014/main" id="{534EF251-2F00-499F-95F8-BA86441D1355}"/>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solidFill>
                  <a:srgbClr val="737373"/>
                </a:solidFill>
              </a:endParaRPr>
            </a:p>
          </p:txBody>
        </p:sp>
        <p:sp>
          <p:nvSpPr>
            <p:cNvPr id="9" name="Freeform: Shape 8">
              <a:extLst>
                <a:ext uri="{FF2B5EF4-FFF2-40B4-BE49-F238E27FC236}">
                  <a16:creationId xmlns:a16="http://schemas.microsoft.com/office/drawing/2014/main" id="{B5896159-2C65-4206-B4BA-AD03FEC82FEA}"/>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0E514DB2-0A0B-4734-9800-E3961DF21E00}"/>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3831C1C1-EC71-4524-AF28-E220FEBEB8FA}"/>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2" name="Freeform: Shape 11">
              <a:extLst>
                <a:ext uri="{FF2B5EF4-FFF2-40B4-BE49-F238E27FC236}">
                  <a16:creationId xmlns:a16="http://schemas.microsoft.com/office/drawing/2014/main" id="{12A9F166-6D5F-4F93-87BC-9DBDBBB56C4A}"/>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2385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CE1808-951C-4945-9FE9-8EF44C00084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84486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descr="A view down the corridor of a datacenter with the servers lining each side of the corridor">
            <a:extLst>
              <a:ext uri="{FF2B5EF4-FFF2-40B4-BE49-F238E27FC236}">
                <a16:creationId xmlns:a16="http://schemas.microsoft.com/office/drawing/2014/main" id="{DD26F874-FDD6-4BCF-AD7D-892EEAA3DACD}"/>
              </a:ext>
            </a:extLst>
          </p:cNvPr>
          <p:cNvPicPr>
            <a:picLocks noChangeAspect="1"/>
          </p:cNvPicPr>
          <p:nvPr userDrawn="1"/>
        </p:nvPicPr>
        <p:blipFill rotWithShape="1">
          <a:blip r:embed="rId2"/>
          <a:srcRect r="474" b="474"/>
          <a:stretch/>
        </p:blipFill>
        <p:spPr>
          <a:xfrm>
            <a:off x="0" y="0"/>
            <a:ext cx="12192000" cy="269748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802294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5D484C-BBB7-4131-8126-DFF614222447}"/>
              </a:ext>
              <a:ext uri="{C183D7F6-B498-43B3-948B-1728B52AA6E4}">
                <adec:decorative xmlns:adec="http://schemas.microsoft.com/office/drawing/2017/decorative" val="1"/>
              </a:ext>
            </a:extLst>
          </p:cNvPr>
          <p:cNvSpPr/>
          <p:nvPr userDrawn="1"/>
        </p:nvSpPr>
        <p:spPr>
          <a:xfrm>
            <a:off x="1" y="1"/>
            <a:ext cx="428244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63369" y="2918699"/>
            <a:ext cx="2195071" cy="1020602"/>
          </a:xfrm>
        </p:spPr>
        <p:txBody>
          <a:bodyPr/>
          <a:lstStyle>
            <a:lvl1pPr>
              <a:defRPr>
                <a:solidFill>
                  <a:schemeClr val="bg1"/>
                </a:solidFill>
              </a:defRPr>
            </a:lvl1pPr>
          </a:lstStyle>
          <a:p>
            <a:r>
              <a:rPr lang="en-US"/>
              <a:t>Agenda</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066384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358391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4571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9266275-8D71-48BB-81AC-A2CEF6C74009}"/>
              </a:ext>
              <a:ext uri="{C183D7F6-B498-43B3-948B-1728B52AA6E4}">
                <adec:decorative xmlns:adec="http://schemas.microsoft.com/office/drawing/2017/decorative" val="1"/>
              </a:ext>
            </a:extLst>
          </p:cNvPr>
          <p:cNvSpPr/>
          <p:nvPr userDrawn="1"/>
        </p:nvSpPr>
        <p:spPr>
          <a:xfrm>
            <a:off x="0" y="0"/>
            <a:ext cx="3796260" cy="6858000"/>
          </a:xfrm>
          <a:prstGeom prst="rect">
            <a:avLst/>
          </a:prstGeom>
          <a:solidFill>
            <a:srgbClr val="000000">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17880D80-45DD-486D-9077-77FC3516D75F}"/>
              </a:ext>
              <a:ext uri="{C183D7F6-B498-43B3-948B-1728B52AA6E4}">
                <adec:decorative xmlns:adec="http://schemas.microsoft.com/office/drawing/2017/decorative" val="1"/>
              </a:ext>
            </a:extLst>
          </p:cNvPr>
          <p:cNvSpPr/>
          <p:nvPr userDrawn="1"/>
        </p:nvSpPr>
        <p:spPr>
          <a:xfrm>
            <a:off x="3759200" y="0"/>
            <a:ext cx="8432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84136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197186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6769F5-3E2E-4901-9352-0634EFF9E3C8}"/>
              </a:ext>
              <a:ext uri="{C183D7F6-B498-43B3-948B-1728B52AA6E4}">
                <adec:decorative xmlns:adec="http://schemas.microsoft.com/office/drawing/2017/decorative" val="1"/>
              </a:ext>
            </a:extLst>
          </p:cNvPr>
          <p:cNvSpPr/>
          <p:nvPr userDrawn="1"/>
        </p:nvSpPr>
        <p:spPr bwMode="auto">
          <a:xfrm>
            <a:off x="-1" y="1856689"/>
            <a:ext cx="12192001" cy="27602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418548" y="1985151"/>
            <a:ext cx="5181463" cy="2503306"/>
          </a:xfrm>
          <a:prstGeom prst="rect">
            <a:avLst/>
          </a:prstGeom>
          <a:noFill/>
        </p:spPr>
        <p:txBody>
          <a:bodyPr vert="horz" wrap="square" lIns="0" tIns="0" rIns="0" bIns="0" rtlCol="0" anchor="ctr" anchorCtr="0">
            <a:noAutofit/>
          </a:bodyPr>
          <a:lstStyle>
            <a:lvl1pPr>
              <a:defRPr lang="en-US" sz="4705" spc="-49" baseline="0" dirty="0">
                <a:solidFill>
                  <a:srgbClr val="000000"/>
                </a:solidFill>
              </a:defRPr>
            </a:lvl1pPr>
          </a:lstStyle>
          <a:p>
            <a:pPr marL="0" lvl="0">
              <a:lnSpc>
                <a:spcPts val="5490"/>
              </a:lnSpc>
            </a:pPr>
            <a:r>
              <a:rPr lang="en-US"/>
              <a:t>Section title</a:t>
            </a:r>
          </a:p>
        </p:txBody>
      </p:sp>
      <p:pic>
        <p:nvPicPr>
          <p:cNvPr id="10" name="Picture 9" descr="Isometric graphic the illustrates Windows Servers moving to the cloud. There are also icons illustrating SQL servers and security. ">
            <a:extLst>
              <a:ext uri="{FF2B5EF4-FFF2-40B4-BE49-F238E27FC236}">
                <a16:creationId xmlns:a16="http://schemas.microsoft.com/office/drawing/2014/main" id="{9F088600-66E2-4E01-AEFB-21DA343E03F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4196034" cy="6858001"/>
          </a:xfrm>
          <a:prstGeom prst="rect">
            <a:avLst/>
          </a:prstGeom>
        </p:spPr>
      </p:pic>
    </p:spTree>
    <p:extLst>
      <p:ext uri="{BB962C8B-B14F-4D97-AF65-F5344CB8AC3E}">
        <p14:creationId xmlns:p14="http://schemas.microsoft.com/office/powerpoint/2010/main" val="274979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6314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8168979" y="3201255"/>
            <a:ext cx="3199543" cy="455490"/>
          </a:xfrm>
          <a:prstGeom prst="rect">
            <a:avLst/>
          </a:prstGeom>
          <a:noFill/>
        </p:spPr>
        <p:txBody>
          <a:bodyPr lIns="0" tIns="0" rIns="0" bIns="0" anchor="t" anchorCtr="0"/>
          <a:lstStyle>
            <a:lvl1pPr algn="r">
              <a:lnSpc>
                <a:spcPct val="100000"/>
              </a:lnSpc>
              <a:spcAft>
                <a:spcPts val="1274"/>
              </a:spcAft>
              <a:defRPr sz="2549" spc="-49" baseline="0">
                <a:solidFill>
                  <a:schemeClr val="bg1"/>
                </a:solidFill>
              </a:defRPr>
            </a:lvl1pPr>
          </a:lstStyle>
          <a:p>
            <a:r>
              <a:rPr lang="en-US"/>
              <a:t>Thank you.</a:t>
            </a:r>
          </a:p>
        </p:txBody>
      </p:sp>
      <p:pic>
        <p:nvPicPr>
          <p:cNvPr id="7" name="Picture 6" descr="Isometric graphic that illustrates Windows Server and SQL Server data moving to the cloud. There are also icons representing cost, efficiency, security, and innovation.">
            <a:extLst>
              <a:ext uri="{FF2B5EF4-FFF2-40B4-BE49-F238E27FC236}">
                <a16:creationId xmlns:a16="http://schemas.microsoft.com/office/drawing/2014/main" id="{4C33D0B9-7E9A-4819-8071-7D05C8B8B1F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34"/>
          <a:stretch/>
        </p:blipFill>
        <p:spPr>
          <a:xfrm>
            <a:off x="0" y="1"/>
            <a:ext cx="7012356" cy="6857999"/>
          </a:xfrm>
          <a:prstGeom prst="rect">
            <a:avLst/>
          </a:prstGeom>
        </p:spPr>
      </p:pic>
      <p:pic>
        <p:nvPicPr>
          <p:cNvPr id="8" name="Picture 7" descr="Microsoft Azure logo">
            <a:extLst>
              <a:ext uri="{FF2B5EF4-FFF2-40B4-BE49-F238E27FC236}">
                <a16:creationId xmlns:a16="http://schemas.microsoft.com/office/drawing/2014/main" id="{79B2AB3F-EF11-40F8-9310-83B2BDFC31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2848" y="439310"/>
            <a:ext cx="1335673" cy="190278"/>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9043770" y="6451197"/>
            <a:ext cx="2324752"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algn="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52121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400">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4" y="547296"/>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3956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pic>
        <p:nvPicPr>
          <p:cNvPr id="17" name="Picture 16" descr="Microsoft Logo">
            <a:extLst>
              <a:ext uri="{FF2B5EF4-FFF2-40B4-BE49-F238E27FC236}">
                <a16:creationId xmlns:a16="http://schemas.microsoft.com/office/drawing/2014/main" id="{F67DC6E5-FF0C-43C0-8784-C454EE2B6307}"/>
              </a:ext>
            </a:extLst>
          </p:cNvPr>
          <p:cNvPicPr>
            <a:picLocks noChangeAspect="1"/>
          </p:cNvPicPr>
          <p:nvPr userDrawn="1"/>
        </p:nvPicPr>
        <p:blipFill rotWithShape="1">
          <a:blip r:embed="rId2"/>
          <a:srcRect l="13148" t="30000" r="13148" b="30000"/>
          <a:stretch/>
        </p:blipFill>
        <p:spPr>
          <a:xfrm>
            <a:off x="508101" y="516813"/>
            <a:ext cx="1899819" cy="462118"/>
          </a:xfrm>
          <a:prstGeom prst="rect">
            <a:avLst/>
          </a:prstGeom>
        </p:spPr>
      </p:pic>
    </p:spTree>
    <p:extLst>
      <p:ext uri="{BB962C8B-B14F-4D97-AF65-F5344CB8AC3E}">
        <p14:creationId xmlns:p14="http://schemas.microsoft.com/office/powerpoint/2010/main" val="413989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6983226" cy="2852737"/>
          </a:xfrm>
        </p:spPr>
        <p:txBody>
          <a:bodyPr anchor="ctr"/>
          <a:lstStyle>
            <a:lvl1pPr>
              <a:defRPr sz="3600">
                <a:solidFill>
                  <a:schemeClr val="tx1"/>
                </a:solidFill>
              </a:defRPr>
            </a:lvl1pPr>
          </a:lstStyle>
          <a:p>
            <a:r>
              <a:rPr lang="en-US"/>
              <a:t>Click to edit Master title style</a:t>
            </a:r>
          </a:p>
        </p:txBody>
      </p:sp>
      <p:pic>
        <p:nvPicPr>
          <p:cNvPr id="3" name="Graphic 2">
            <a:extLst>
              <a:ext uri="{FF2B5EF4-FFF2-40B4-BE49-F238E27FC236}">
                <a16:creationId xmlns:a16="http://schemas.microsoft.com/office/drawing/2014/main" id="{2A948CE4-0647-41F6-9B26-E3F7409C3BA9}"/>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3448" y="0"/>
            <a:ext cx="4538552" cy="4576268"/>
          </a:xfrm>
          <a:prstGeom prst="rect">
            <a:avLst/>
          </a:prstGeom>
        </p:spPr>
      </p:pic>
    </p:spTree>
    <p:extLst>
      <p:ext uri="{BB962C8B-B14F-4D97-AF65-F5344CB8AC3E}">
        <p14:creationId xmlns:p14="http://schemas.microsoft.com/office/powerpoint/2010/main" val="186665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Header White-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144" name="Picture 143">
            <a:extLst>
              <a:ext uri="{FF2B5EF4-FFF2-40B4-BE49-F238E27FC236}">
                <a16:creationId xmlns:a16="http://schemas.microsoft.com/office/drawing/2014/main" id="{0394E794-0F10-4266-9308-5D306AF015E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
          <a:stretch/>
        </p:blipFill>
        <p:spPr>
          <a:xfrm>
            <a:off x="0" y="2223209"/>
            <a:ext cx="4659879" cy="4634792"/>
          </a:xfrm>
          <a:prstGeom prst="rect">
            <a:avLst/>
          </a:prstGeom>
        </p:spPr>
      </p:pic>
    </p:spTree>
    <p:extLst>
      <p:ext uri="{BB962C8B-B14F-4D97-AF65-F5344CB8AC3E}">
        <p14:creationId xmlns:p14="http://schemas.microsoft.com/office/powerpoint/2010/main" val="403793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Section Header White-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3820" y="2002633"/>
            <a:ext cx="11061918" cy="2852737"/>
          </a:xfrm>
        </p:spPr>
        <p:txBody>
          <a:bodyPr anchor="ctr"/>
          <a:lstStyle>
            <a:lvl1pPr>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129438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ection Header White-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73769" y="2002633"/>
            <a:ext cx="6070778" cy="2852737"/>
          </a:xfrm>
        </p:spPr>
        <p:txBody>
          <a:bodyPr anchor="ctr"/>
          <a:lstStyle>
            <a:lvl1pPr>
              <a:defRPr sz="3600">
                <a:solidFill>
                  <a:schemeClr val="tx1"/>
                </a:solidFill>
              </a:defRPr>
            </a:lvl1pPr>
          </a:lstStyle>
          <a:p>
            <a:r>
              <a:rPr lang="en-US"/>
              <a:t>Click to edit Master title style</a:t>
            </a:r>
          </a:p>
        </p:txBody>
      </p:sp>
      <p:pic>
        <p:nvPicPr>
          <p:cNvPr id="55" name="Picture 54">
            <a:extLst>
              <a:ext uri="{FF2B5EF4-FFF2-40B4-BE49-F238E27FC236}">
                <a16:creationId xmlns:a16="http://schemas.microsoft.com/office/drawing/2014/main" id="{246BA875-901F-4C49-806B-4B55D5E1966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1913716"/>
            <a:ext cx="4956478" cy="4944285"/>
          </a:xfrm>
          <a:prstGeom prst="rect">
            <a:avLst/>
          </a:prstGeom>
        </p:spPr>
      </p:pic>
    </p:spTree>
    <p:extLst>
      <p:ext uri="{BB962C8B-B14F-4D97-AF65-F5344CB8AC3E}">
        <p14:creationId xmlns:p14="http://schemas.microsoft.com/office/powerpoint/2010/main" val="13364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Section Header Dark-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77783" y="2002633"/>
            <a:ext cx="7366764" cy="2852737"/>
          </a:xfrm>
        </p:spPr>
        <p:txBody>
          <a:bodyPr anchor="ctr"/>
          <a:lstStyle>
            <a:lvl1pPr>
              <a:defRPr sz="3600">
                <a:solidFill>
                  <a:schemeClr val="accent1"/>
                </a:solidFill>
              </a:defRPr>
            </a:lvl1pPr>
          </a:lstStyle>
          <a:p>
            <a:r>
              <a:rPr lang="en-US"/>
              <a:t>Click to edit Master title style</a:t>
            </a:r>
          </a:p>
        </p:txBody>
      </p:sp>
      <p:pic>
        <p:nvPicPr>
          <p:cNvPr id="54" name="Picture 53">
            <a:extLst>
              <a:ext uri="{FF2B5EF4-FFF2-40B4-BE49-F238E27FC236}">
                <a16:creationId xmlns:a16="http://schemas.microsoft.com/office/drawing/2014/main" id="{AFAF1DC2-7184-4C1A-9BAB-7BF2947CFD53}"/>
              </a:ext>
              <a:ext uri="{C183D7F6-B498-43B3-948B-1728B52AA6E4}">
                <adec:decorative xmlns:adec="http://schemas.microsoft.com/office/drawing/2017/decorative" val="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484"/>
            <a:ext cx="3426940" cy="6849516"/>
          </a:xfrm>
          <a:prstGeom prst="rect">
            <a:avLst/>
          </a:prstGeom>
        </p:spPr>
      </p:pic>
    </p:spTree>
    <p:extLst>
      <p:ext uri="{BB962C8B-B14F-4D97-AF65-F5344CB8AC3E}">
        <p14:creationId xmlns:p14="http://schemas.microsoft.com/office/powerpoint/2010/main" val="35401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402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9C8537-D3A3-6541-B4CB-37F457260EE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8" t="2837" b="12619"/>
          <a:stretch/>
        </p:blipFill>
        <p:spPr>
          <a:xfrm>
            <a:off x="0" y="0"/>
            <a:ext cx="12058185" cy="6858001"/>
          </a:xfrm>
          <a:prstGeom prst="rect">
            <a:avLst/>
          </a:prstGeom>
        </p:spPr>
      </p:pic>
      <p:sp>
        <p:nvSpPr>
          <p:cNvPr id="21" name="Rectangle 20">
            <a:extLst>
              <a:ext uri="{FF2B5EF4-FFF2-40B4-BE49-F238E27FC236}">
                <a16:creationId xmlns:a16="http://schemas.microsoft.com/office/drawing/2014/main" id="{45112617-03B9-4CB6-8194-EAA44C242546}"/>
              </a:ext>
            </a:extLst>
          </p:cNvPr>
          <p:cNvSpPr/>
          <p:nvPr userDrawn="1"/>
        </p:nvSpPr>
        <p:spPr bwMode="auto">
          <a:xfrm>
            <a:off x="0" y="-1"/>
            <a:ext cx="12192000" cy="6858001"/>
          </a:xfrm>
          <a:prstGeom prst="rect">
            <a:avLst/>
          </a:prstGeom>
          <a:gradFill flip="none" rotWithShape="1">
            <a:gsLst>
              <a:gs pos="0">
                <a:schemeClr val="bg1">
                  <a:alpha val="95000"/>
                </a:schemeClr>
              </a:gs>
              <a:gs pos="100000">
                <a:schemeClr val="bg1">
                  <a:alpha val="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8BCCA059-E904-4849-B856-034AD6DE845D}"/>
              </a:ext>
            </a:extLst>
          </p:cNvPr>
          <p:cNvGrpSpPr/>
          <p:nvPr userDrawn="1"/>
        </p:nvGrpSpPr>
        <p:grpSpPr>
          <a:xfrm>
            <a:off x="584200" y="585788"/>
            <a:ext cx="2032492" cy="292608"/>
            <a:chOff x="584200" y="585788"/>
            <a:chExt cx="2032492" cy="292608"/>
          </a:xfrm>
        </p:grpSpPr>
        <p:sp>
          <p:nvSpPr>
            <p:cNvPr id="49" name="Rectangle 28">
              <a:extLst>
                <a:ext uri="{FF2B5EF4-FFF2-40B4-BE49-F238E27FC236}">
                  <a16:creationId xmlns:a16="http://schemas.microsoft.com/office/drawing/2014/main" id="{3FE0ECFD-1B86-3348-BB33-91D40F0D291B}"/>
                </a:ext>
              </a:extLst>
            </p:cNvPr>
            <p:cNvSpPr>
              <a:spLocks noChangeArrowheads="1"/>
            </p:cNvSpPr>
            <p:nvPr userDrawn="1"/>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Rectangle 29">
              <a:extLst>
                <a:ext uri="{FF2B5EF4-FFF2-40B4-BE49-F238E27FC236}">
                  <a16:creationId xmlns:a16="http://schemas.microsoft.com/office/drawing/2014/main" id="{DBD46591-BA2D-D643-823B-CCF9456D5532}"/>
                </a:ext>
              </a:extLst>
            </p:cNvPr>
            <p:cNvSpPr>
              <a:spLocks noChangeArrowheads="1"/>
            </p:cNvSpPr>
            <p:nvPr userDrawn="1"/>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Rectangle 30">
              <a:extLst>
                <a:ext uri="{FF2B5EF4-FFF2-40B4-BE49-F238E27FC236}">
                  <a16:creationId xmlns:a16="http://schemas.microsoft.com/office/drawing/2014/main" id="{BD3C47C7-7DB3-D94A-BA08-F07A8492AA33}"/>
                </a:ext>
              </a:extLst>
            </p:cNvPr>
            <p:cNvSpPr>
              <a:spLocks noChangeArrowheads="1"/>
            </p:cNvSpPr>
            <p:nvPr userDrawn="1"/>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Rectangle 31">
              <a:extLst>
                <a:ext uri="{FF2B5EF4-FFF2-40B4-BE49-F238E27FC236}">
                  <a16:creationId xmlns:a16="http://schemas.microsoft.com/office/drawing/2014/main" id="{881A41DB-E573-A34F-9057-376A2951B043}"/>
                </a:ext>
              </a:extLst>
            </p:cNvPr>
            <p:cNvSpPr>
              <a:spLocks noChangeArrowheads="1"/>
            </p:cNvSpPr>
            <p:nvPr userDrawn="1"/>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52">
              <a:extLst>
                <a:ext uri="{FF2B5EF4-FFF2-40B4-BE49-F238E27FC236}">
                  <a16:creationId xmlns:a16="http://schemas.microsoft.com/office/drawing/2014/main" id="{9D872837-FE1F-8048-9E7B-F8CE33D9024D}"/>
                </a:ext>
              </a:extLst>
            </p:cNvPr>
            <p:cNvGrpSpPr/>
            <p:nvPr userDrawn="1"/>
          </p:nvGrpSpPr>
          <p:grpSpPr>
            <a:xfrm>
              <a:off x="584200" y="585788"/>
              <a:ext cx="2032492" cy="292608"/>
              <a:chOff x="584200" y="585788"/>
              <a:chExt cx="2032492" cy="292608"/>
            </a:xfrm>
          </p:grpSpPr>
          <p:sp>
            <p:nvSpPr>
              <p:cNvPr id="54" name="Freeform 22">
                <a:extLst>
                  <a:ext uri="{FF2B5EF4-FFF2-40B4-BE49-F238E27FC236}">
                    <a16:creationId xmlns:a16="http://schemas.microsoft.com/office/drawing/2014/main" id="{685A4EF1-2D17-9043-BE90-89964A6B8181}"/>
                  </a:ext>
                </a:extLst>
              </p:cNvPr>
              <p:cNvSpPr>
                <a:spLocks noEditPoints="1"/>
              </p:cNvSpPr>
              <p:nvPr/>
            </p:nvSpPr>
            <p:spPr bwMode="auto">
              <a:xfrm>
                <a:off x="1996994" y="644901"/>
                <a:ext cx="165023" cy="174383"/>
              </a:xfrm>
              <a:custGeom>
                <a:avLst/>
                <a:gdLst>
                  <a:gd name="T0" fmla="*/ 202 w 335"/>
                  <a:gd name="T1" fmla="*/ 0 h 354"/>
                  <a:gd name="T2" fmla="*/ 335 w 335"/>
                  <a:gd name="T3" fmla="*/ 354 h 354"/>
                  <a:gd name="T4" fmla="*/ 267 w 335"/>
                  <a:gd name="T5" fmla="*/ 354 h 354"/>
                  <a:gd name="T6" fmla="*/ 237 w 335"/>
                  <a:gd name="T7" fmla="*/ 266 h 354"/>
                  <a:gd name="T8" fmla="*/ 96 w 335"/>
                  <a:gd name="T9" fmla="*/ 266 h 354"/>
                  <a:gd name="T10" fmla="*/ 67 w 335"/>
                  <a:gd name="T11" fmla="*/ 354 h 354"/>
                  <a:gd name="T12" fmla="*/ 0 w 335"/>
                  <a:gd name="T13" fmla="*/ 354 h 354"/>
                  <a:gd name="T14" fmla="*/ 133 w 335"/>
                  <a:gd name="T15" fmla="*/ 0 h 354"/>
                  <a:gd name="T16" fmla="*/ 202 w 335"/>
                  <a:gd name="T17" fmla="*/ 0 h 354"/>
                  <a:gd name="T18" fmla="*/ 165 w 335"/>
                  <a:gd name="T19" fmla="*/ 66 h 354"/>
                  <a:gd name="T20" fmla="*/ 112 w 335"/>
                  <a:gd name="T21" fmla="*/ 214 h 354"/>
                  <a:gd name="T22" fmla="*/ 218 w 335"/>
                  <a:gd name="T23" fmla="*/ 214 h 354"/>
                  <a:gd name="T24" fmla="*/ 167 w 335"/>
                  <a:gd name="T25" fmla="*/ 66 h 354"/>
                  <a:gd name="T26" fmla="*/ 165 w 335"/>
                  <a:gd name="T27"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54">
                    <a:moveTo>
                      <a:pt x="202" y="0"/>
                    </a:moveTo>
                    <a:lnTo>
                      <a:pt x="335" y="354"/>
                    </a:lnTo>
                    <a:lnTo>
                      <a:pt x="267" y="354"/>
                    </a:lnTo>
                    <a:lnTo>
                      <a:pt x="237" y="266"/>
                    </a:lnTo>
                    <a:lnTo>
                      <a:pt x="96" y="266"/>
                    </a:lnTo>
                    <a:lnTo>
                      <a:pt x="67" y="354"/>
                    </a:lnTo>
                    <a:lnTo>
                      <a:pt x="0" y="354"/>
                    </a:lnTo>
                    <a:lnTo>
                      <a:pt x="133" y="0"/>
                    </a:lnTo>
                    <a:lnTo>
                      <a:pt x="202" y="0"/>
                    </a:lnTo>
                    <a:close/>
                    <a:moveTo>
                      <a:pt x="165" y="66"/>
                    </a:moveTo>
                    <a:lnTo>
                      <a:pt x="112" y="214"/>
                    </a:lnTo>
                    <a:lnTo>
                      <a:pt x="218" y="214"/>
                    </a:lnTo>
                    <a:lnTo>
                      <a:pt x="167" y="66"/>
                    </a:lnTo>
                    <a:lnTo>
                      <a:pt x="165" y="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5" name="Freeform 23">
                <a:extLst>
                  <a:ext uri="{FF2B5EF4-FFF2-40B4-BE49-F238E27FC236}">
                    <a16:creationId xmlns:a16="http://schemas.microsoft.com/office/drawing/2014/main" id="{20CFD7C2-62C8-144D-B3D6-29CA385D6F1D}"/>
                  </a:ext>
                </a:extLst>
              </p:cNvPr>
              <p:cNvSpPr>
                <a:spLocks/>
              </p:cNvSpPr>
              <p:nvPr/>
            </p:nvSpPr>
            <p:spPr bwMode="auto">
              <a:xfrm>
                <a:off x="2171869" y="693669"/>
                <a:ext cx="104925" cy="125615"/>
              </a:xfrm>
              <a:custGeom>
                <a:avLst/>
                <a:gdLst>
                  <a:gd name="T0" fmla="*/ 8 w 213"/>
                  <a:gd name="T1" fmla="*/ 0 h 255"/>
                  <a:gd name="T2" fmla="*/ 211 w 213"/>
                  <a:gd name="T3" fmla="*/ 0 h 255"/>
                  <a:gd name="T4" fmla="*/ 211 w 213"/>
                  <a:gd name="T5" fmla="*/ 24 h 255"/>
                  <a:gd name="T6" fmla="*/ 78 w 213"/>
                  <a:gd name="T7" fmla="*/ 208 h 255"/>
                  <a:gd name="T8" fmla="*/ 213 w 213"/>
                  <a:gd name="T9" fmla="*/ 208 h 255"/>
                  <a:gd name="T10" fmla="*/ 213 w 213"/>
                  <a:gd name="T11" fmla="*/ 255 h 255"/>
                  <a:gd name="T12" fmla="*/ 0 w 213"/>
                  <a:gd name="T13" fmla="*/ 255 h 255"/>
                  <a:gd name="T14" fmla="*/ 0 w 213"/>
                  <a:gd name="T15" fmla="*/ 229 h 255"/>
                  <a:gd name="T16" fmla="*/ 131 w 213"/>
                  <a:gd name="T17" fmla="*/ 49 h 255"/>
                  <a:gd name="T18" fmla="*/ 8 w 213"/>
                  <a:gd name="T19" fmla="*/ 49 h 255"/>
                  <a:gd name="T20" fmla="*/ 8 w 213"/>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55">
                    <a:moveTo>
                      <a:pt x="8" y="0"/>
                    </a:moveTo>
                    <a:lnTo>
                      <a:pt x="211" y="0"/>
                    </a:lnTo>
                    <a:lnTo>
                      <a:pt x="211" y="24"/>
                    </a:lnTo>
                    <a:lnTo>
                      <a:pt x="78" y="208"/>
                    </a:lnTo>
                    <a:lnTo>
                      <a:pt x="213" y="208"/>
                    </a:lnTo>
                    <a:lnTo>
                      <a:pt x="213" y="255"/>
                    </a:lnTo>
                    <a:lnTo>
                      <a:pt x="0" y="255"/>
                    </a:lnTo>
                    <a:lnTo>
                      <a:pt x="0" y="229"/>
                    </a:lnTo>
                    <a:lnTo>
                      <a:pt x="131" y="49"/>
                    </a:lnTo>
                    <a:lnTo>
                      <a:pt x="8" y="49"/>
                    </a:lnTo>
                    <a:lnTo>
                      <a:pt x="8"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6" name="Freeform 24">
                <a:extLst>
                  <a:ext uri="{FF2B5EF4-FFF2-40B4-BE49-F238E27FC236}">
                    <a16:creationId xmlns:a16="http://schemas.microsoft.com/office/drawing/2014/main" id="{AFF7E8C1-7227-1945-8EA5-9AEE297F45B2}"/>
                  </a:ext>
                </a:extLst>
              </p:cNvPr>
              <p:cNvSpPr>
                <a:spLocks/>
              </p:cNvSpPr>
              <p:nvPr/>
            </p:nvSpPr>
            <p:spPr bwMode="auto">
              <a:xfrm>
                <a:off x="2289602" y="693669"/>
                <a:ext cx="111822" cy="128078"/>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7" name="Freeform 25">
                <a:extLst>
                  <a:ext uri="{FF2B5EF4-FFF2-40B4-BE49-F238E27FC236}">
                    <a16:creationId xmlns:a16="http://schemas.microsoft.com/office/drawing/2014/main" id="{CB68B529-3098-0340-BC94-0C7B5753F5F4}"/>
                  </a:ext>
                </a:extLst>
              </p:cNvPr>
              <p:cNvSpPr>
                <a:spLocks/>
              </p:cNvSpPr>
              <p:nvPr/>
            </p:nvSpPr>
            <p:spPr bwMode="auto">
              <a:xfrm>
                <a:off x="2428517" y="691698"/>
                <a:ext cx="72413" cy="127585"/>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8" name="Freeform 26">
                <a:extLst>
                  <a:ext uri="{FF2B5EF4-FFF2-40B4-BE49-F238E27FC236}">
                    <a16:creationId xmlns:a16="http://schemas.microsoft.com/office/drawing/2014/main" id="{16318527-29C7-4245-ABDB-118ECBEE01E8}"/>
                  </a:ext>
                </a:extLst>
              </p:cNvPr>
              <p:cNvSpPr>
                <a:spLocks noEditPoints="1"/>
              </p:cNvSpPr>
              <p:nvPr/>
            </p:nvSpPr>
            <p:spPr bwMode="auto">
              <a:xfrm>
                <a:off x="2501915" y="691698"/>
                <a:ext cx="114777" cy="131033"/>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59" name="Freeform 27">
                <a:extLst>
                  <a:ext uri="{FF2B5EF4-FFF2-40B4-BE49-F238E27FC236}">
                    <a16:creationId xmlns:a16="http://schemas.microsoft.com/office/drawing/2014/main" id="{4E1E3D8F-A2A9-DD40-837C-2735C2789AB7}"/>
                  </a:ext>
                </a:extLst>
              </p:cNvPr>
              <p:cNvSpPr>
                <a:spLocks noEditPoints="1"/>
              </p:cNvSpPr>
              <p:nvPr/>
            </p:nvSpPr>
            <p:spPr bwMode="auto">
              <a:xfrm>
                <a:off x="960551" y="631600"/>
                <a:ext cx="983241" cy="191131"/>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solidFill>
                    <a:schemeClr val="bg1"/>
                  </a:solidFill>
                </a:endParaRPr>
              </a:p>
            </p:txBody>
          </p:sp>
          <p:sp>
            <p:nvSpPr>
              <p:cNvPr id="60" name="Rectangle 32">
                <a:extLst>
                  <a:ext uri="{FF2B5EF4-FFF2-40B4-BE49-F238E27FC236}">
                    <a16:creationId xmlns:a16="http://schemas.microsoft.com/office/drawing/2014/main" id="{F9A67B49-1641-694B-A766-7D036948A14D}"/>
                  </a:ext>
                </a:extLst>
              </p:cNvPr>
              <p:cNvSpPr>
                <a:spLocks noChangeArrowheads="1"/>
              </p:cNvSpPr>
              <p:nvPr/>
            </p:nvSpPr>
            <p:spPr bwMode="auto">
              <a:xfrm>
                <a:off x="584200" y="585788"/>
                <a:ext cx="137930" cy="13940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Rectangle 33">
                <a:extLst>
                  <a:ext uri="{FF2B5EF4-FFF2-40B4-BE49-F238E27FC236}">
                    <a16:creationId xmlns:a16="http://schemas.microsoft.com/office/drawing/2014/main" id="{8022A3C1-A9BA-684F-97A6-25BE6D67ADE2}"/>
                  </a:ext>
                </a:extLst>
              </p:cNvPr>
              <p:cNvSpPr>
                <a:spLocks noChangeArrowheads="1"/>
              </p:cNvSpPr>
              <p:nvPr/>
            </p:nvSpPr>
            <p:spPr bwMode="auto">
              <a:xfrm>
                <a:off x="735923" y="585788"/>
                <a:ext cx="137930" cy="13940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34">
                <a:extLst>
                  <a:ext uri="{FF2B5EF4-FFF2-40B4-BE49-F238E27FC236}">
                    <a16:creationId xmlns:a16="http://schemas.microsoft.com/office/drawing/2014/main" id="{F9842A9C-C1E9-C34F-AEF8-AA8875C738C6}"/>
                  </a:ext>
                </a:extLst>
              </p:cNvPr>
              <p:cNvSpPr>
                <a:spLocks noChangeArrowheads="1"/>
              </p:cNvSpPr>
              <p:nvPr/>
            </p:nvSpPr>
            <p:spPr bwMode="auto">
              <a:xfrm>
                <a:off x="584200" y="738988"/>
                <a:ext cx="137930" cy="13940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Rectangle 35">
                <a:extLst>
                  <a:ext uri="{FF2B5EF4-FFF2-40B4-BE49-F238E27FC236}">
                    <a16:creationId xmlns:a16="http://schemas.microsoft.com/office/drawing/2014/main" id="{90E3F8AC-F0E5-3443-8B09-40E983B5BF10}"/>
                  </a:ext>
                </a:extLst>
              </p:cNvPr>
              <p:cNvSpPr>
                <a:spLocks noChangeArrowheads="1"/>
              </p:cNvSpPr>
              <p:nvPr/>
            </p:nvSpPr>
            <p:spPr bwMode="auto">
              <a:xfrm>
                <a:off x="735923" y="738988"/>
                <a:ext cx="137930" cy="13940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846548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259050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19EC416-783E-4DBF-B0DD-6F96AD9460B7}"/>
              </a:ext>
            </a:extLst>
          </p:cNvPr>
          <p:cNvSpPr>
            <a:spLocks noGrp="1"/>
          </p:cNvSpPr>
          <p:nvPr>
            <p:ph type="pic" sz="quarter" idx="10"/>
          </p:nvPr>
        </p:nvSpPr>
        <p:spPr>
          <a:xfrm>
            <a:off x="0" y="0"/>
            <a:ext cx="6096000" cy="6858000"/>
          </a:xfrm>
        </p:spPr>
        <p:txBody>
          <a:bodyPr/>
          <a:lstStyle/>
          <a:p>
            <a:endParaRPr lang="en-US"/>
          </a:p>
        </p:txBody>
      </p:sp>
      <p:sp>
        <p:nvSpPr>
          <p:cNvPr id="8" name="Title 7">
            <a:extLst>
              <a:ext uri="{FF2B5EF4-FFF2-40B4-BE49-F238E27FC236}">
                <a16:creationId xmlns:a16="http://schemas.microsoft.com/office/drawing/2014/main" id="{63E6D392-1147-4930-B8D8-43E784FF5477}"/>
              </a:ext>
            </a:extLst>
          </p:cNvPr>
          <p:cNvSpPr>
            <a:spLocks noGrp="1"/>
          </p:cNvSpPr>
          <p:nvPr>
            <p:ph type="title"/>
          </p:nvPr>
        </p:nvSpPr>
        <p:spPr>
          <a:xfrm>
            <a:off x="6475227" y="457200"/>
            <a:ext cx="5131555" cy="553998"/>
          </a:xfrm>
        </p:spPr>
        <p:txBody>
          <a:bodyPr/>
          <a:lstStyle/>
          <a:p>
            <a:r>
              <a:rPr lang="en-US"/>
              <a:t>Click to edit Master title style</a:t>
            </a:r>
          </a:p>
        </p:txBody>
      </p:sp>
    </p:spTree>
    <p:extLst>
      <p:ext uri="{BB962C8B-B14F-4D97-AF65-F5344CB8AC3E}">
        <p14:creationId xmlns:p14="http://schemas.microsoft.com/office/powerpoint/2010/main" val="4635368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4" y="1122367"/>
            <a:ext cx="6827265" cy="2576513"/>
          </a:xfrm>
        </p:spPr>
        <p:txBody>
          <a:bodyPr rIns="0" anchor="b"/>
          <a:lstStyle>
            <a:lvl1pPr algn="r">
              <a:defRPr sz="5995">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4" y="3698876"/>
            <a:ext cx="6827265" cy="1558924"/>
          </a:xfrm>
        </p:spPr>
        <p:txBody>
          <a:bodyPr/>
          <a:lstStyle>
            <a:lvl1pPr marL="0" indent="0" algn="r">
              <a:lnSpc>
                <a:spcPct val="100000"/>
              </a:lnSpc>
              <a:buNone/>
              <a:defRPr sz="2394">
                <a:solidFill>
                  <a:schemeClr val="accent1"/>
                </a:solidFill>
              </a:defRPr>
            </a:lvl1pPr>
            <a:lvl2pPr marL="455795" indent="0" algn="ctr">
              <a:buNone/>
              <a:defRPr sz="1995"/>
            </a:lvl2pPr>
            <a:lvl3pPr marL="911589" indent="0" algn="ctr">
              <a:buNone/>
              <a:defRPr sz="1795"/>
            </a:lvl3pPr>
            <a:lvl4pPr marL="1367383" indent="0" algn="ctr">
              <a:buNone/>
              <a:defRPr sz="1596"/>
            </a:lvl4pPr>
            <a:lvl5pPr marL="1823178" indent="0" algn="ctr">
              <a:buNone/>
              <a:defRPr sz="1596"/>
            </a:lvl5pPr>
            <a:lvl6pPr marL="2278971" indent="0" algn="ctr">
              <a:buNone/>
              <a:defRPr sz="1596"/>
            </a:lvl6pPr>
            <a:lvl7pPr marL="2734765" indent="0" algn="ctr">
              <a:buNone/>
              <a:defRPr sz="1596"/>
            </a:lvl7pPr>
            <a:lvl8pPr marL="3190561" indent="0" algn="ctr">
              <a:buNone/>
              <a:defRPr sz="1596"/>
            </a:lvl8pPr>
            <a:lvl9pPr marL="3646353"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7"/>
            <a:ext cx="4158426" cy="4135437"/>
          </a:xfrm>
        </p:spPr>
        <p:txBody>
          <a:bodyPr rIns="0" anchor="ctr"/>
          <a:lstStyle>
            <a:lvl1pPr marL="0" indent="0" algn="l">
              <a:buNone/>
              <a:defRPr>
                <a:solidFill>
                  <a:schemeClr val="accent3"/>
                </a:solidFill>
                <a:latin typeface="+mj-lt"/>
              </a:defRPr>
            </a:lvl1pPr>
            <a:lvl2pPr marL="455795" indent="0">
              <a:buNone/>
              <a:defRPr/>
            </a:lvl2pPr>
            <a:lvl3pPr marL="911589" indent="0">
              <a:buNone/>
              <a:defRPr/>
            </a:lvl3pPr>
            <a:lvl4pPr marL="1367383" indent="0">
              <a:buNone/>
              <a:defRPr/>
            </a:lvl4pPr>
            <a:lvl5pPr marL="18231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2"/>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4" y="547296"/>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49570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611709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5" name="Text Placeholder 4">
            <a:extLst>
              <a:ext uri="{FF2B5EF4-FFF2-40B4-BE49-F238E27FC236}">
                <a16:creationId xmlns:a16="http://schemas.microsoft.com/office/drawing/2014/main" id="{54451810-8AEC-4F83-8C46-8B13AA0B5F8C}"/>
              </a:ext>
            </a:extLst>
          </p:cNvPr>
          <p:cNvSpPr>
            <a:spLocks noGrp="1"/>
          </p:cNvSpPr>
          <p:nvPr>
            <p:ph type="body" sz="quarter" idx="12"/>
          </p:nvPr>
        </p:nvSpPr>
        <p:spPr>
          <a:xfrm>
            <a:off x="700643"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6" name="Text Placeholder 4">
            <a:extLst>
              <a:ext uri="{FF2B5EF4-FFF2-40B4-BE49-F238E27FC236}">
                <a16:creationId xmlns:a16="http://schemas.microsoft.com/office/drawing/2014/main" id="{F8A5FD1B-79FE-4050-A8D8-7D6BFBD4718D}"/>
              </a:ext>
            </a:extLst>
          </p:cNvPr>
          <p:cNvSpPr>
            <a:spLocks noGrp="1"/>
          </p:cNvSpPr>
          <p:nvPr>
            <p:ph type="body" sz="quarter" idx="13"/>
          </p:nvPr>
        </p:nvSpPr>
        <p:spPr>
          <a:xfrm>
            <a:off x="3449192"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19456606-995D-46BE-B45F-A56A322036B8}"/>
              </a:ext>
            </a:extLst>
          </p:cNvPr>
          <p:cNvSpPr>
            <a:spLocks noGrp="1"/>
          </p:cNvSpPr>
          <p:nvPr>
            <p:ph type="body" sz="quarter" idx="14"/>
          </p:nvPr>
        </p:nvSpPr>
        <p:spPr>
          <a:xfrm>
            <a:off x="6197741"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
        <p:nvSpPr>
          <p:cNvPr id="8" name="Text Placeholder 4">
            <a:extLst>
              <a:ext uri="{FF2B5EF4-FFF2-40B4-BE49-F238E27FC236}">
                <a16:creationId xmlns:a16="http://schemas.microsoft.com/office/drawing/2014/main" id="{B3FDCBB8-69CC-4273-820B-818CE6A89195}"/>
              </a:ext>
            </a:extLst>
          </p:cNvPr>
          <p:cNvSpPr>
            <a:spLocks noGrp="1"/>
          </p:cNvSpPr>
          <p:nvPr>
            <p:ph type="body" sz="quarter" idx="15"/>
          </p:nvPr>
        </p:nvSpPr>
        <p:spPr>
          <a:xfrm>
            <a:off x="8946290" y="2949489"/>
            <a:ext cx="2561539" cy="1151084"/>
          </a:xfrm>
        </p:spPr>
        <p:txBody>
          <a:bodyPr/>
          <a:lstStyle>
            <a:lvl1pPr marL="0" indent="0" algn="ctr">
              <a:spcBef>
                <a:spcPts val="0"/>
              </a:spcBef>
              <a:spcAft>
                <a:spcPts val="1200"/>
              </a:spcAft>
              <a:buNone/>
              <a:defRPr lang="en-US" sz="2400" kern="1200" dirty="0" smtClean="0">
                <a:gradFill flip="none" rotWithShape="1">
                  <a:gsLst>
                    <a:gs pos="100000">
                      <a:schemeClr val="accent2"/>
                    </a:gs>
                    <a:gs pos="0">
                      <a:schemeClr val="accent1"/>
                    </a:gs>
                  </a:gsLst>
                  <a:lin ang="4800000" scaled="0"/>
                  <a:tileRect/>
                </a:gradFill>
                <a:latin typeface="Segoe UI Semibold"/>
                <a:ea typeface="+mn-ea"/>
                <a:cs typeface="+mn-cs"/>
              </a:defRPr>
            </a:lvl1pPr>
            <a:lvl2pPr marL="0" indent="0" algn="ctr">
              <a:spcAft>
                <a:spcPts val="600"/>
              </a:spcAft>
              <a:buNone/>
              <a:defRPr sz="14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22302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5475C1F6-DC55-4271-94C0-165B6139100B}"/>
              </a:ext>
            </a:extLst>
          </p:cNvPr>
          <p:cNvSpPr>
            <a:spLocks noGrp="1"/>
          </p:cNvSpPr>
          <p:nvPr>
            <p:ph type="body" sz="quarter" idx="13" hasCustomPrompt="1"/>
          </p:nvPr>
        </p:nvSpPr>
        <p:spPr>
          <a:xfrm>
            <a:off x="413004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13" name="Text Placeholder 7">
            <a:extLst>
              <a:ext uri="{FF2B5EF4-FFF2-40B4-BE49-F238E27FC236}">
                <a16:creationId xmlns:a16="http://schemas.microsoft.com/office/drawing/2014/main" id="{EF6206C7-EFF4-4FC4-8839-42B40EF565A3}"/>
              </a:ext>
            </a:extLst>
          </p:cNvPr>
          <p:cNvSpPr>
            <a:spLocks noGrp="1"/>
          </p:cNvSpPr>
          <p:nvPr>
            <p:ph type="body" sz="quarter" idx="15" hasCustomPrompt="1"/>
          </p:nvPr>
        </p:nvSpPr>
        <p:spPr>
          <a:xfrm>
            <a:off x="825337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6" name="Picture Placeholder 5">
            <a:extLst>
              <a:ext uri="{FF2B5EF4-FFF2-40B4-BE49-F238E27FC236}">
                <a16:creationId xmlns:a16="http://schemas.microsoft.com/office/drawing/2014/main" id="{0A89332D-A055-479C-B533-E911841C60B6}"/>
              </a:ext>
            </a:extLst>
          </p:cNvPr>
          <p:cNvSpPr>
            <a:spLocks noGrp="1"/>
          </p:cNvSpPr>
          <p:nvPr>
            <p:ph type="pic" sz="quarter" idx="10"/>
          </p:nvPr>
        </p:nvSpPr>
        <p:spPr>
          <a:xfrm>
            <a:off x="6710" y="2076034"/>
            <a:ext cx="3931920" cy="4781966"/>
          </a:xfrm>
        </p:spPr>
        <p:txBody>
          <a:bodyPr>
            <a:noAutofit/>
          </a:bodyPr>
          <a:lstStyle/>
          <a:p>
            <a:endParaRPr lang="en-US"/>
          </a:p>
        </p:txBody>
      </p:sp>
      <p:sp>
        <p:nvSpPr>
          <p:cNvPr id="7" name="Picture Placeholder 5">
            <a:extLst>
              <a:ext uri="{FF2B5EF4-FFF2-40B4-BE49-F238E27FC236}">
                <a16:creationId xmlns:a16="http://schemas.microsoft.com/office/drawing/2014/main" id="{40390D44-315C-4D65-B7B7-02DC5572F9A5}"/>
              </a:ext>
            </a:extLst>
          </p:cNvPr>
          <p:cNvSpPr>
            <a:spLocks noGrp="1"/>
          </p:cNvSpPr>
          <p:nvPr>
            <p:ph type="pic" sz="quarter" idx="12"/>
          </p:nvPr>
        </p:nvSpPr>
        <p:spPr>
          <a:xfrm>
            <a:off x="4130040" y="2076034"/>
            <a:ext cx="3931920" cy="4781966"/>
          </a:xfrm>
        </p:spPr>
        <p:txBody>
          <a:bodyPr>
            <a:noAutofit/>
          </a:bodyPr>
          <a:lstStyle/>
          <a:p>
            <a:endParaRPr lang="en-US"/>
          </a:p>
        </p:txBody>
      </p:sp>
      <p:sp>
        <p:nvSpPr>
          <p:cNvPr id="11" name="Picture Placeholder 5">
            <a:extLst>
              <a:ext uri="{FF2B5EF4-FFF2-40B4-BE49-F238E27FC236}">
                <a16:creationId xmlns:a16="http://schemas.microsoft.com/office/drawing/2014/main" id="{8E237823-16D4-4A55-B828-9EEDED05B47A}"/>
              </a:ext>
            </a:extLst>
          </p:cNvPr>
          <p:cNvSpPr>
            <a:spLocks noGrp="1"/>
          </p:cNvSpPr>
          <p:nvPr>
            <p:ph type="pic" sz="quarter" idx="14"/>
          </p:nvPr>
        </p:nvSpPr>
        <p:spPr>
          <a:xfrm>
            <a:off x="8253370" y="2076034"/>
            <a:ext cx="3931920" cy="4781966"/>
          </a:xfrm>
        </p:spPr>
        <p:txBody>
          <a:bodyPr>
            <a:noAutofit/>
          </a:bodyPr>
          <a:lstStyle/>
          <a:p>
            <a:endParaRPr lang="en-US"/>
          </a:p>
        </p:txBody>
      </p:sp>
      <p:sp>
        <p:nvSpPr>
          <p:cNvPr id="2" name="Title 1">
            <a:extLst>
              <a:ext uri="{FF2B5EF4-FFF2-40B4-BE49-F238E27FC236}">
                <a16:creationId xmlns:a16="http://schemas.microsoft.com/office/drawing/2014/main" id="{80A809B7-26BA-4172-9315-EE4FA8B819E4}"/>
              </a:ext>
            </a:extLst>
          </p:cNvPr>
          <p:cNvSpPr>
            <a:spLocks noGrp="1"/>
          </p:cNvSpPr>
          <p:nvPr>
            <p:ph type="title"/>
          </p:nvPr>
        </p:nvSpPr>
        <p:spPr/>
        <p:txBody>
          <a:bodyPr/>
          <a:lstStyle>
            <a:lvl1pPr algn="ctr">
              <a:defRPr/>
            </a:lvl1pPr>
          </a:lstStyle>
          <a:p>
            <a:r>
              <a:rPr lang="en-US"/>
              <a:t>Click to edit Master title style</a:t>
            </a:r>
          </a:p>
        </p:txBody>
      </p:sp>
      <p:sp>
        <p:nvSpPr>
          <p:cNvPr id="14" name="Text Placeholder 7">
            <a:extLst>
              <a:ext uri="{FF2B5EF4-FFF2-40B4-BE49-F238E27FC236}">
                <a16:creationId xmlns:a16="http://schemas.microsoft.com/office/drawing/2014/main" id="{44C2593E-785B-44DB-8CDB-C4750CDDC011}"/>
              </a:ext>
            </a:extLst>
          </p:cNvPr>
          <p:cNvSpPr>
            <a:spLocks noGrp="1"/>
          </p:cNvSpPr>
          <p:nvPr>
            <p:ph type="body" sz="quarter" idx="16" hasCustomPrompt="1"/>
          </p:nvPr>
        </p:nvSpPr>
        <p:spPr>
          <a:xfrm>
            <a:off x="0" y="1176951"/>
            <a:ext cx="3931920" cy="733330"/>
          </a:xfrm>
          <a:solidFill>
            <a:schemeClr val="bg1">
              <a:alpha val="71000"/>
            </a:schemeClr>
          </a:solidFill>
        </p:spPr>
        <p:txBody>
          <a:bodyPr lIns="365760" tIns="182880" rIns="182880" bIns="182880">
            <a:noAutofit/>
          </a:bodyPr>
          <a:lstStyle>
            <a:lvl1pPr marL="0" indent="0">
              <a:buNone/>
              <a:defRPr lang="en-US" sz="1600" kern="1200" cap="all" spc="300" baseline="0" dirty="0" smtClean="0">
                <a:solidFill>
                  <a:schemeClr val="accent2"/>
                </a:solidFill>
                <a:latin typeface="+mn-lt"/>
                <a:ea typeface="+mn-ea"/>
                <a:cs typeface="+mn-cs"/>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ext styles</a:t>
            </a:r>
          </a:p>
          <a:p>
            <a:pPr lvl="1"/>
            <a:r>
              <a:rPr lang="en-US"/>
              <a:t>Second level</a:t>
            </a:r>
          </a:p>
        </p:txBody>
      </p:sp>
      <p:sp>
        <p:nvSpPr>
          <p:cNvPr id="15" name="Picture Placeholder 13">
            <a:extLst>
              <a:ext uri="{FF2B5EF4-FFF2-40B4-BE49-F238E27FC236}">
                <a16:creationId xmlns:a16="http://schemas.microsoft.com/office/drawing/2014/main" id="{0404C6DB-A820-455E-9D44-EA3973D00DFF}"/>
              </a:ext>
            </a:extLst>
          </p:cNvPr>
          <p:cNvSpPr>
            <a:spLocks noGrp="1" noChangeAspect="1"/>
          </p:cNvSpPr>
          <p:nvPr>
            <p:ph type="pic" sz="quarter" idx="17"/>
          </p:nvPr>
        </p:nvSpPr>
        <p:spPr>
          <a:xfrm>
            <a:off x="1515470" y="2286000"/>
            <a:ext cx="914400" cy="914400"/>
          </a:xfrm>
          <a:solidFill>
            <a:schemeClr val="tx1"/>
          </a:solidFill>
        </p:spPr>
        <p:txBody>
          <a:bodyPr/>
          <a:lstStyle>
            <a:lvl1pPr>
              <a:defRPr sz="1400"/>
            </a:lvl1pPr>
          </a:lstStyle>
          <a:p>
            <a:endParaRPr lang="en-US"/>
          </a:p>
        </p:txBody>
      </p:sp>
      <p:sp>
        <p:nvSpPr>
          <p:cNvPr id="16" name="Picture Placeholder 13">
            <a:extLst>
              <a:ext uri="{FF2B5EF4-FFF2-40B4-BE49-F238E27FC236}">
                <a16:creationId xmlns:a16="http://schemas.microsoft.com/office/drawing/2014/main" id="{228ABAC5-F8FC-46CE-9B2A-325F344FEEEE}"/>
              </a:ext>
            </a:extLst>
          </p:cNvPr>
          <p:cNvSpPr>
            <a:spLocks noGrp="1" noChangeAspect="1"/>
          </p:cNvSpPr>
          <p:nvPr>
            <p:ph type="pic" sz="quarter" idx="18"/>
          </p:nvPr>
        </p:nvSpPr>
        <p:spPr>
          <a:xfrm>
            <a:off x="5638800" y="2286000"/>
            <a:ext cx="914400" cy="914400"/>
          </a:xfrm>
          <a:solidFill>
            <a:schemeClr val="tx1"/>
          </a:solidFill>
        </p:spPr>
        <p:txBody>
          <a:bodyPr/>
          <a:lstStyle>
            <a:lvl1pPr>
              <a:defRPr sz="1400"/>
            </a:lvl1pPr>
          </a:lstStyle>
          <a:p>
            <a:endParaRPr lang="en-US"/>
          </a:p>
        </p:txBody>
      </p:sp>
      <p:sp>
        <p:nvSpPr>
          <p:cNvPr id="17" name="Picture Placeholder 13">
            <a:extLst>
              <a:ext uri="{FF2B5EF4-FFF2-40B4-BE49-F238E27FC236}">
                <a16:creationId xmlns:a16="http://schemas.microsoft.com/office/drawing/2014/main" id="{4E4E7C86-4E8F-49E5-AD32-FEAA1D3B7608}"/>
              </a:ext>
            </a:extLst>
          </p:cNvPr>
          <p:cNvSpPr>
            <a:spLocks noGrp="1" noChangeAspect="1"/>
          </p:cNvSpPr>
          <p:nvPr>
            <p:ph type="pic" sz="quarter" idx="19"/>
          </p:nvPr>
        </p:nvSpPr>
        <p:spPr>
          <a:xfrm>
            <a:off x="9762130" y="2286000"/>
            <a:ext cx="914400" cy="914400"/>
          </a:xfrm>
          <a:solidFill>
            <a:schemeClr val="tx1"/>
          </a:solidFill>
        </p:spPr>
        <p:txBody>
          <a:bodyPr/>
          <a:lstStyle>
            <a:lvl1pPr>
              <a:defRPr sz="1400"/>
            </a:lvl1pPr>
          </a:lstStyle>
          <a:p>
            <a:endParaRPr lang="en-US"/>
          </a:p>
        </p:txBody>
      </p:sp>
    </p:spTree>
    <p:extLst>
      <p:ext uri="{BB962C8B-B14F-4D97-AF65-F5344CB8AC3E}">
        <p14:creationId xmlns:p14="http://schemas.microsoft.com/office/powerpoint/2010/main" val="84891996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89332D-A055-479C-B533-E911841C60B6}"/>
              </a:ext>
            </a:extLst>
          </p:cNvPr>
          <p:cNvSpPr>
            <a:spLocks noGrp="1"/>
          </p:cNvSpPr>
          <p:nvPr>
            <p:ph type="pic" sz="quarter" idx="10"/>
          </p:nvPr>
        </p:nvSpPr>
        <p:spPr>
          <a:xfrm>
            <a:off x="6710" y="-6978"/>
            <a:ext cx="4354513" cy="6858000"/>
          </a:xfrm>
        </p:spPr>
        <p:txBody>
          <a:bodyPr/>
          <a:lstStyle/>
          <a:p>
            <a:endParaRPr lang="en-US"/>
          </a:p>
        </p:txBody>
      </p:sp>
      <p:sp>
        <p:nvSpPr>
          <p:cNvPr id="8" name="Text Placeholder 7">
            <a:extLst>
              <a:ext uri="{FF2B5EF4-FFF2-40B4-BE49-F238E27FC236}">
                <a16:creationId xmlns:a16="http://schemas.microsoft.com/office/drawing/2014/main" id="{09A63255-3825-4052-B44B-F0992E2FEEAB}"/>
              </a:ext>
            </a:extLst>
          </p:cNvPr>
          <p:cNvSpPr>
            <a:spLocks noGrp="1"/>
          </p:cNvSpPr>
          <p:nvPr>
            <p:ph type="body" sz="quarter" idx="11"/>
          </p:nvPr>
        </p:nvSpPr>
        <p:spPr>
          <a:xfrm>
            <a:off x="6710" y="3613355"/>
            <a:ext cx="4354512" cy="3237667"/>
          </a:xfrm>
          <a:solidFill>
            <a:schemeClr val="bg1">
              <a:alpha val="71000"/>
            </a:schemeClr>
          </a:solidFill>
        </p:spPr>
        <p:txBody>
          <a:bodyPr lIns="365760" tIns="182880" rIns="182880" bIns="182880">
            <a:noAutofit/>
          </a:bodyPr>
          <a:lstStyle>
            <a:lvl1pPr marL="0" indent="0">
              <a:buNone/>
              <a:defRPr sz="1600">
                <a:latin typeface="+mj-lt"/>
              </a:defRPr>
            </a:lvl1pPr>
            <a:lvl2pPr marL="0" indent="0">
              <a:buNone/>
              <a:defRPr sz="1200"/>
            </a:lvl2pPr>
            <a:lvl3pPr marL="0" indent="0">
              <a:spcBef>
                <a:spcPts val="1200"/>
              </a:spcBef>
              <a:buNone/>
              <a:defRPr lang="en-US" sz="900" kern="1200" cap="all" spc="300" baseline="0" dirty="0" smtClean="0">
                <a:solidFill>
                  <a:schemeClr val="accent2"/>
                </a:solidFill>
                <a:latin typeface="+mn-lt"/>
                <a:ea typeface="+mn-ea"/>
                <a:cs typeface="+mn-cs"/>
              </a:defRPr>
            </a:lvl3pPr>
            <a:lvl4pPr marL="0" indent="0">
              <a:spcBef>
                <a:spcPts val="200"/>
              </a:spcBef>
              <a:spcAft>
                <a:spcPts val="0"/>
              </a:spcAft>
              <a:buNone/>
              <a:defRPr sz="1050"/>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title</a:t>
            </a:r>
          </a:p>
        </p:txBody>
      </p:sp>
      <p:sp>
        <p:nvSpPr>
          <p:cNvPr id="9" name="Text Placeholder 7">
            <a:extLst>
              <a:ext uri="{FF2B5EF4-FFF2-40B4-BE49-F238E27FC236}">
                <a16:creationId xmlns:a16="http://schemas.microsoft.com/office/drawing/2014/main" id="{62A99783-8EE4-496E-AB8F-11C2981C51FB}"/>
              </a:ext>
            </a:extLst>
          </p:cNvPr>
          <p:cNvSpPr>
            <a:spLocks noGrp="1"/>
          </p:cNvSpPr>
          <p:nvPr>
            <p:ph type="body" sz="quarter" idx="12"/>
          </p:nvPr>
        </p:nvSpPr>
        <p:spPr>
          <a:xfrm>
            <a:off x="4828673" y="1675677"/>
            <a:ext cx="6778109" cy="1557349"/>
          </a:xfrm>
        </p:spPr>
        <p:txBody>
          <a:bodyPr/>
          <a:lstStyle>
            <a:lvl1pPr marL="0" indent="0">
              <a:spcBef>
                <a:spcPts val="0"/>
              </a:spcBef>
              <a:spcAft>
                <a:spcPts val="600"/>
              </a:spcAft>
              <a:buNone/>
              <a:defRPr sz="1600">
                <a:latin typeface="+mn-lt"/>
              </a:defRPr>
            </a:lvl1pPr>
            <a:lvl2pPr marL="0" indent="0">
              <a:spcBef>
                <a:spcPts val="2400"/>
              </a:spcBef>
              <a:buNone/>
              <a:defRPr sz="1200"/>
            </a:lvl2pPr>
            <a:lvl3pPr marL="0" indent="0">
              <a:spcBef>
                <a:spcPts val="1800"/>
              </a:spcBef>
              <a:spcAft>
                <a:spcPts val="600"/>
              </a:spcAft>
              <a:buNone/>
              <a:defRPr sz="900" cap="all" spc="300" baseline="0">
                <a:solidFill>
                  <a:schemeClr val="accent2"/>
                </a:solidFill>
              </a:defRPr>
            </a:lvl3pPr>
            <a:lvl4pPr marL="0" indent="0">
              <a:spcAft>
                <a:spcPts val="600"/>
              </a:spcAft>
              <a:buNone/>
              <a:defRPr lang="en-US" sz="1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4pPr>
            <a:lvl5pPr marL="0" indent="0">
              <a:buNone/>
              <a:defRPr sz="1000"/>
            </a:lvl5pPr>
          </a:lstStyle>
          <a:p>
            <a:pPr lvl="0"/>
            <a:r>
              <a:rPr lang="en-US"/>
              <a:t>Click to edit Master text styles</a:t>
            </a:r>
          </a:p>
          <a:p>
            <a:pPr lvl="1"/>
            <a:r>
              <a:rPr lang="en-US"/>
              <a:t>Second level</a:t>
            </a:r>
          </a:p>
          <a:p>
            <a:pPr lvl="2"/>
            <a:r>
              <a:rPr lang="en-US"/>
              <a:t>Third level</a:t>
            </a:r>
          </a:p>
          <a:p>
            <a:pPr lvl="3"/>
            <a:r>
              <a:rPr lang="en-US"/>
              <a:t>fourth</a:t>
            </a:r>
          </a:p>
        </p:txBody>
      </p:sp>
      <p:sp>
        <p:nvSpPr>
          <p:cNvPr id="12" name="Title 11">
            <a:extLst>
              <a:ext uri="{FF2B5EF4-FFF2-40B4-BE49-F238E27FC236}">
                <a16:creationId xmlns:a16="http://schemas.microsoft.com/office/drawing/2014/main" id="{ACB59583-E648-4E5F-8C44-E3A1BAC6EEC4}"/>
              </a:ext>
            </a:extLst>
          </p:cNvPr>
          <p:cNvSpPr>
            <a:spLocks noGrp="1"/>
          </p:cNvSpPr>
          <p:nvPr>
            <p:ph type="title"/>
          </p:nvPr>
        </p:nvSpPr>
        <p:spPr>
          <a:xfrm>
            <a:off x="4828673" y="370935"/>
            <a:ext cx="6778109" cy="369332"/>
          </a:xfrm>
        </p:spPr>
        <p:txBody>
          <a:bodyPr/>
          <a:lstStyle>
            <a:lvl1pPr>
              <a:defRPr sz="2400"/>
            </a:lvl1pPr>
          </a:lstStyle>
          <a:p>
            <a:r>
              <a:rPr lang="en-US"/>
              <a:t>Click to edit Master title style</a:t>
            </a:r>
          </a:p>
        </p:txBody>
      </p:sp>
      <p:sp>
        <p:nvSpPr>
          <p:cNvPr id="14" name="Picture Placeholder 13">
            <a:extLst>
              <a:ext uri="{FF2B5EF4-FFF2-40B4-BE49-F238E27FC236}">
                <a16:creationId xmlns:a16="http://schemas.microsoft.com/office/drawing/2014/main" id="{2DFDD174-6F47-4C25-AC02-6A78A789ECD9}"/>
              </a:ext>
            </a:extLst>
          </p:cNvPr>
          <p:cNvSpPr>
            <a:spLocks noGrp="1" noChangeAspect="1"/>
          </p:cNvSpPr>
          <p:nvPr>
            <p:ph type="pic" sz="quarter" idx="13"/>
          </p:nvPr>
        </p:nvSpPr>
        <p:spPr>
          <a:xfrm>
            <a:off x="1652875" y="2514600"/>
            <a:ext cx="914400" cy="914400"/>
          </a:xfrm>
          <a:solidFill>
            <a:schemeClr val="tx1"/>
          </a:solidFill>
        </p:spPr>
        <p:txBody>
          <a:bodyPr/>
          <a:lstStyle>
            <a:lvl1pPr>
              <a:defRPr sz="1400"/>
            </a:lvl1pPr>
          </a:lstStyle>
          <a:p>
            <a:endParaRPr lang="en-US"/>
          </a:p>
        </p:txBody>
      </p:sp>
    </p:spTree>
    <p:extLst>
      <p:ext uri="{BB962C8B-B14F-4D97-AF65-F5344CB8AC3E}">
        <p14:creationId xmlns:p14="http://schemas.microsoft.com/office/powerpoint/2010/main" val="286823561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announcem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alpha val="2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116507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left)">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build="p">
        <p:tmplLst>
          <p:tmpl lvl="1">
            <p:tnLst>
              <p:par>
                <p:cTn presetID="22" presetClass="entr" presetSubtype="8"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announcement - no animatio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CC9741-080B-4B46-A228-7DE7ECBDB962}"/>
              </a:ext>
            </a:extLst>
          </p:cNvPr>
          <p:cNvSpPr>
            <a:spLocks noGrp="1"/>
          </p:cNvSpPr>
          <p:nvPr>
            <p:ph type="title"/>
          </p:nvPr>
        </p:nvSpPr>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6F9A97A4-93B0-4E83-9F9F-E1114D78616F}"/>
              </a:ext>
            </a:extLst>
          </p:cNvPr>
          <p:cNvSpPr/>
          <p:nvPr userDrawn="1"/>
        </p:nvSpPr>
        <p:spPr bwMode="auto">
          <a:xfrm>
            <a:off x="0" y="1081315"/>
            <a:ext cx="12192000" cy="446892"/>
          </a:xfrm>
          <a:prstGeom prst="rect">
            <a:avLst/>
          </a:prstGeom>
          <a:solidFill>
            <a:schemeClr val="accent1">
              <a:alpha val="2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50873"/>
            <a:ext cx="11025188" cy="307777"/>
          </a:xfrm>
        </p:spPr>
        <p:txBody>
          <a:bodyPr/>
          <a:lstStyle>
            <a:lvl1pPr marL="0" indent="0" algn="ctr">
              <a:buNone/>
              <a:defRPr sz="2000">
                <a:solidFill>
                  <a:schemeClr val="tx1"/>
                </a:solidFill>
                <a:latin typeface="+mj-lt"/>
              </a:defRPr>
            </a:lvl1pPr>
          </a:lstStyle>
          <a:p>
            <a:pPr lvl="0"/>
            <a:r>
              <a:rPr lang="en-US"/>
              <a:t>Edit Master text styles</a:t>
            </a:r>
          </a:p>
        </p:txBody>
      </p:sp>
    </p:spTree>
    <p:extLst>
      <p:ext uri="{BB962C8B-B14F-4D97-AF65-F5344CB8AC3E}">
        <p14:creationId xmlns:p14="http://schemas.microsoft.com/office/powerpoint/2010/main" val="4213504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055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313" y="3367290"/>
            <a:ext cx="9144000" cy="609398"/>
          </a:xfrm>
          <a:noFill/>
        </p:spPr>
        <p:txBody>
          <a:bodyPr lIns="0" tIns="0" rIns="0" bIns="0" anchor="b" anchorCtr="0">
            <a:spAutoFit/>
          </a:bodyPr>
          <a:lstStyle>
            <a:lvl1pPr algn="l" defTabSz="932742" rtl="0" eaLnBrk="1" latinLnBrk="0" hangingPunct="1">
              <a:lnSpc>
                <a:spcPct val="90000"/>
              </a:lnSpc>
              <a:spcBef>
                <a:spcPct val="0"/>
              </a:spcBef>
              <a:buNone/>
              <a:defRPr lang="en-US" sz="4400" b="0" kern="1200" cap="none" spc="-5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015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5" y="3769821"/>
            <a:ext cx="5481755"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ubtitle</a:t>
            </a:r>
          </a:p>
        </p:txBody>
      </p:sp>
    </p:spTree>
    <p:extLst>
      <p:ext uri="{BB962C8B-B14F-4D97-AF65-F5344CB8AC3E}">
        <p14:creationId xmlns:p14="http://schemas.microsoft.com/office/powerpoint/2010/main" val="695963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54167E-6 -2.22222E-6 L 0.02916 -2.22222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54167E-6 -2.22222E-6 L 0.02916 -2.22222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3223"/>
            <a:ext cx="54817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title</a:t>
            </a:r>
          </a:p>
        </p:txBody>
      </p:sp>
    </p:spTree>
    <p:extLst>
      <p:ext uri="{BB962C8B-B14F-4D97-AF65-F5344CB8AC3E}">
        <p14:creationId xmlns:p14="http://schemas.microsoft.com/office/powerpoint/2010/main" val="68469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54167E-6 -3.7037E-6 L 0.02916 -3.7037E-6 " pathEditMode="relative" rAng="0" ptsTypes="AA">
                                      <p:cBhvr>
                                        <p:cTn id="9" dur="500" spd="-100000" fill="hold"/>
                                        <p:tgtEl>
                                          <p:spTgt spid="2"/>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guide id="5" pos="1824">
          <p15:clr>
            <a:srgbClr val="FBAE40"/>
          </p15:clr>
        </p15:guide>
        <p15:guide id="6" pos="1608">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image" Target="../media/image28.emf"/><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image" Target="../media/image28.emf"/><Relationship Id="rId5" Type="http://schemas.openxmlformats.org/officeDocument/2006/relationships/theme" Target="../theme/theme3.xml"/><Relationship Id="rId4" Type="http://schemas.openxmlformats.org/officeDocument/2006/relationships/slideLayout" Target="../slideLayouts/slideLayout1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theme" Target="../theme/theme4.xml"/><Relationship Id="rId1" Type="http://schemas.openxmlformats.org/officeDocument/2006/relationships/slideLayout" Target="../slideLayouts/slideLayout1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image" Target="../media/image35.png"/><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endParaRPr lang="en-IN"/>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2138437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 id="2147483858" r:id="rId33"/>
    <p:sldLayoutId id="2147483859" r:id="rId34"/>
    <p:sldLayoutId id="2147483860" r:id="rId35"/>
    <p:sldLayoutId id="2147483861" r:id="rId36"/>
    <p:sldLayoutId id="2147483862" r:id="rId37"/>
    <p:sldLayoutId id="2147483863" r:id="rId38"/>
    <p:sldLayoutId id="2147483864" r:id="rId39"/>
    <p:sldLayoutId id="2147483865" r:id="rId40"/>
    <p:sldLayoutId id="2147483866" r:id="rId41"/>
    <p:sldLayoutId id="2147483867" r:id="rId42"/>
    <p:sldLayoutId id="2147483868" r:id="rId43"/>
    <p:sldLayoutId id="2147483869" r:id="rId44"/>
    <p:sldLayoutId id="2147483870" r:id="rId45"/>
    <p:sldLayoutId id="2147483871" r:id="rId46"/>
    <p:sldLayoutId id="2147483872" r:id="rId47"/>
    <p:sldLayoutId id="2147483873" r:id="rId48"/>
    <p:sldLayoutId id="2147483874" r:id="rId49"/>
    <p:sldLayoutId id="2147483875" r:id="rId50"/>
    <p:sldLayoutId id="2147483876" r:id="rId51"/>
    <p:sldLayoutId id="2147483877" r:id="rId52"/>
    <p:sldLayoutId id="2147483878" r:id="rId53"/>
    <p:sldLayoutId id="2147483879" r:id="rId54"/>
    <p:sldLayoutId id="2147483880" r:id="rId55"/>
    <p:sldLayoutId id="2147483881" r:id="rId56"/>
    <p:sldLayoutId id="2147483882" r:id="rId57"/>
    <p:sldLayoutId id="2147483883" r:id="rId58"/>
    <p:sldLayoutId id="2147483884" r:id="rId59"/>
    <p:sldLayoutId id="2147483885" r:id="rId60"/>
    <p:sldLayoutId id="2147483886" r:id="rId61"/>
    <p:sldLayoutId id="2147483889" r:id="rId62"/>
    <p:sldLayoutId id="2147483890" r:id="rId63"/>
    <p:sldLayoutId id="2147483891" r:id="rId64"/>
    <p:sldLayoutId id="2147483892" r:id="rId65"/>
    <p:sldLayoutId id="2147483893" r:id="rId66"/>
    <p:sldLayoutId id="2147483894" r:id="rId67"/>
    <p:sldLayoutId id="2147483895" r:id="rId68"/>
    <p:sldLayoutId id="2147483896" r:id="rId69"/>
    <p:sldLayoutId id="2147483897" r:id="rId70"/>
    <p:sldLayoutId id="2147483898" r:id="rId71"/>
    <p:sldLayoutId id="2147483899" r:id="rId72"/>
    <p:sldLayoutId id="2147483900" r:id="rId73"/>
    <p:sldLayoutId id="2147483901" r:id="rId74"/>
    <p:sldLayoutId id="2147483902" r:id="rId75"/>
    <p:sldLayoutId id="2147483903" r:id="rId76"/>
    <p:sldLayoutId id="2147483904" r:id="rId77"/>
    <p:sldLayoutId id="2147483905" r:id="rId78"/>
    <p:sldLayoutId id="2147483906" r:id="rId79"/>
    <p:sldLayoutId id="2147483907" r:id="rId80"/>
    <p:sldLayoutId id="2147483908" r:id="rId81"/>
    <p:sldLayoutId id="2147483909" r:id="rId82"/>
    <p:sldLayoutId id="2147483910" r:id="rId83"/>
    <p:sldLayoutId id="2147483911" r:id="rId84"/>
    <p:sldLayoutId id="2147483912" r:id="rId85"/>
    <p:sldLayoutId id="2147483913" r:id="rId8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131770493"/>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12150523"/>
      </p:ext>
    </p:extLst>
  </p:cSld>
  <p:clrMap bg1="dk1" tx1="lt1" bg2="dk2" tx2="lt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bg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2">
              <a:lumMod val="25000"/>
            </a:schemeClr>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2">
              <a:lumMod val="25000"/>
            </a:schemeClr>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2">
              <a:lumMod val="25000"/>
            </a:schemeClr>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2">
              <a:lumMod val="25000"/>
            </a:schemeClr>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2">
              <a:lumMod val="25000"/>
            </a:schemeClr>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896407420"/>
      </p:ext>
    </p:extLst>
  </p:cSld>
  <p:clrMap bg1="lt1" tx1="dk1" bg2="lt2" tx2="dk2" accent1="accent1" accent2="accent2" accent3="accent3" accent4="accent4" accent5="accent5" accent6="accent6" hlink="hlink" folHlink="folHlink"/>
  <p:sldLayoutIdLst>
    <p:sldLayoutId id="2147483947" r:id="rId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205176049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23.xml.rels><?xml version="1.0" encoding="UTF-8" standalone="yes"?>
<Relationships xmlns="http://schemas.openxmlformats.org/package/2006/relationships"><Relationship Id="rId3" Type="http://schemas.openxmlformats.org/officeDocument/2006/relationships/hyperlink" Target="https://aka.ms/ftalive" TargetMode="External"/><Relationship Id="rId2" Type="http://schemas.openxmlformats.org/officeDocument/2006/relationships/hyperlink" Target="https://aka.ms/ftalive-feedback" TargetMode="Externa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2" Type="http://schemas.openxmlformats.org/officeDocument/2006/relationships/hyperlink" Target="mailto:luciano.moreira@microsoft.com" TargetMode="Externa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hyperlink" Target="https://www.vldb.org/pvldb/vol8/p1668-shukla.pdf" TargetMode="External"/><Relationship Id="rId2" Type="http://schemas.openxmlformats.org/officeDocument/2006/relationships/notesSlide" Target="../notesSlides/notesSlide16.xml"/><Relationship Id="rId1" Type="http://schemas.openxmlformats.org/officeDocument/2006/relationships/slideLayout" Target="../slideLayouts/slideLayout41.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azure/cosmos-db/use-cases" TargetMode="External"/><Relationship Id="rId2" Type="http://schemas.openxmlformats.org/officeDocument/2006/relationships/notesSlide" Target="../notesSlides/notesSlide17.xml"/><Relationship Id="rId1" Type="http://schemas.openxmlformats.org/officeDocument/2006/relationships/slideLayout" Target="../slideLayouts/slideLayout4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hyperlink" Target="https://gotcosmos.com/architecture"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Azure/azure-cosmos-dotnet-v3/tree/master/Microsoft.Azure.Cosmos/src/Routing" TargetMode="External"/><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rest/api/cosmos-db/http-status-codes-for-cosmosdb" TargetMode="External"/><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1039F-6415-435F-9E9C-8276A7F7E2AC}"/>
              </a:ext>
            </a:extLst>
          </p:cNvPr>
          <p:cNvSpPr>
            <a:spLocks noGrp="1"/>
          </p:cNvSpPr>
          <p:nvPr>
            <p:ph type="ctrTitle"/>
          </p:nvPr>
        </p:nvSpPr>
        <p:spPr/>
        <p:txBody>
          <a:bodyPr/>
          <a:lstStyle/>
          <a:p>
            <a:r>
              <a:rPr lang="en-US" dirty="0"/>
              <a:t>Cosmos DB</a:t>
            </a:r>
            <a:br>
              <a:rPr lang="en-US" dirty="0"/>
            </a:br>
            <a:r>
              <a:rPr lang="en-US" sz="4000" dirty="0"/>
              <a:t>Architecture and partitioning</a:t>
            </a:r>
            <a:r>
              <a:rPr lang="en-US" dirty="0"/>
              <a:t> </a:t>
            </a:r>
          </a:p>
        </p:txBody>
      </p:sp>
      <p:sp>
        <p:nvSpPr>
          <p:cNvPr id="3" name="Subtitle 2">
            <a:extLst>
              <a:ext uri="{FF2B5EF4-FFF2-40B4-BE49-F238E27FC236}">
                <a16:creationId xmlns:a16="http://schemas.microsoft.com/office/drawing/2014/main" id="{1E3A46EC-452B-48BD-B544-7FC09E52BDE6}"/>
              </a:ext>
            </a:extLst>
          </p:cNvPr>
          <p:cNvSpPr>
            <a:spLocks noGrp="1"/>
          </p:cNvSpPr>
          <p:nvPr>
            <p:ph type="subTitle" idx="1"/>
          </p:nvPr>
        </p:nvSpPr>
        <p:spPr/>
        <p:txBody>
          <a:bodyPr/>
          <a:lstStyle/>
          <a:p>
            <a:r>
              <a:rPr lang="en-US" dirty="0"/>
              <a:t>Luciano Moreira</a:t>
            </a:r>
          </a:p>
          <a:p>
            <a:r>
              <a:rPr lang="en-US" dirty="0"/>
              <a:t>FastTrack for Azure </a:t>
            </a:r>
          </a:p>
        </p:txBody>
      </p:sp>
    </p:spTree>
    <p:extLst>
      <p:ext uri="{BB962C8B-B14F-4D97-AF65-F5344CB8AC3E}">
        <p14:creationId xmlns:p14="http://schemas.microsoft.com/office/powerpoint/2010/main" val="400597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5376F-A0DD-4803-B586-4ABB49308E71}"/>
              </a:ext>
            </a:extLst>
          </p:cNvPr>
          <p:cNvSpPr>
            <a:spLocks noGrp="1"/>
          </p:cNvSpPr>
          <p:nvPr>
            <p:ph type="title"/>
          </p:nvPr>
        </p:nvSpPr>
        <p:spPr/>
        <p:txBody>
          <a:bodyPr/>
          <a:lstStyle/>
          <a:p>
            <a:r>
              <a:rPr lang="en-US"/>
              <a:t>Partitioning</a:t>
            </a:r>
          </a:p>
        </p:txBody>
      </p:sp>
    </p:spTree>
    <p:extLst>
      <p:ext uri="{BB962C8B-B14F-4D97-AF65-F5344CB8AC3E}">
        <p14:creationId xmlns:p14="http://schemas.microsoft.com/office/powerpoint/2010/main" val="132439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130-22BE-475D-B99E-58E522A4A65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2AB3F73A-9CCC-4C6E-AB15-35137963B719}"/>
              </a:ext>
            </a:extLst>
          </p:cNvPr>
          <p:cNvPicPr>
            <a:picLocks noChangeAspect="1"/>
          </p:cNvPicPr>
          <p:nvPr/>
        </p:nvPicPr>
        <p:blipFill>
          <a:blip r:embed="rId2"/>
          <a:stretch>
            <a:fillRect/>
          </a:stretch>
        </p:blipFill>
        <p:spPr>
          <a:xfrm>
            <a:off x="1163782" y="71731"/>
            <a:ext cx="9706090" cy="6697204"/>
          </a:xfrm>
          <a:prstGeom prst="rect">
            <a:avLst/>
          </a:prstGeom>
        </p:spPr>
      </p:pic>
    </p:spTree>
    <p:extLst>
      <p:ext uri="{BB962C8B-B14F-4D97-AF65-F5344CB8AC3E}">
        <p14:creationId xmlns:p14="http://schemas.microsoft.com/office/powerpoint/2010/main" val="307998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Partition design</a:t>
            </a:r>
          </a:p>
        </p:txBody>
      </p:sp>
      <p:sp>
        <p:nvSpPr>
          <p:cNvPr id="4" name="Rectangle 3">
            <a:extLst>
              <a:ext uri="{FF2B5EF4-FFF2-40B4-BE49-F238E27FC236}">
                <a16:creationId xmlns:a16="http://schemas.microsoft.com/office/drawing/2014/main" id="{B186F71E-71E2-4937-98EF-4DD092D82B95}"/>
              </a:ext>
            </a:extLst>
          </p:cNvPr>
          <p:cNvSpPr/>
          <p:nvPr/>
        </p:nvSpPr>
        <p:spPr>
          <a:xfrm>
            <a:off x="5310544" y="1542081"/>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1</a:t>
            </a:r>
          </a:p>
        </p:txBody>
      </p:sp>
      <p:sp>
        <p:nvSpPr>
          <p:cNvPr id="5" name="Rectangle 4">
            <a:extLst>
              <a:ext uri="{FF2B5EF4-FFF2-40B4-BE49-F238E27FC236}">
                <a16:creationId xmlns:a16="http://schemas.microsoft.com/office/drawing/2014/main" id="{2C7D219E-CF05-43C6-B4F5-A3DD4C981587}"/>
              </a:ext>
            </a:extLst>
          </p:cNvPr>
          <p:cNvSpPr/>
          <p:nvPr/>
        </p:nvSpPr>
        <p:spPr>
          <a:xfrm>
            <a:off x="5310544" y="4087208"/>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2</a:t>
            </a:r>
          </a:p>
        </p:txBody>
      </p:sp>
      <p:cxnSp>
        <p:nvCxnSpPr>
          <p:cNvPr id="7" name="Straight Arrow Connector 6">
            <a:extLst>
              <a:ext uri="{FF2B5EF4-FFF2-40B4-BE49-F238E27FC236}">
                <a16:creationId xmlns:a16="http://schemas.microsoft.com/office/drawing/2014/main" id="{745BF3B5-EA79-4B61-9849-0C32E8EAB153}"/>
              </a:ext>
            </a:extLst>
          </p:cNvPr>
          <p:cNvCxnSpPr>
            <a:cxnSpLocks/>
          </p:cNvCxnSpPr>
          <p:nvPr/>
        </p:nvCxnSpPr>
        <p:spPr>
          <a:xfrm flipV="1">
            <a:off x="2667074" y="2650139"/>
            <a:ext cx="1652168" cy="10161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DB2F491-13B2-4A58-94AA-20107130F1EC}"/>
              </a:ext>
            </a:extLst>
          </p:cNvPr>
          <p:cNvCxnSpPr>
            <a:cxnSpLocks/>
          </p:cNvCxnSpPr>
          <p:nvPr/>
        </p:nvCxnSpPr>
        <p:spPr>
          <a:xfrm>
            <a:off x="2667075" y="3937727"/>
            <a:ext cx="1541041" cy="1156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AA7943D-090F-41DE-BF6F-ADDF6C5566E4}"/>
              </a:ext>
            </a:extLst>
          </p:cNvPr>
          <p:cNvSpPr txBox="1"/>
          <p:nvPr/>
        </p:nvSpPr>
        <p:spPr>
          <a:xfrm>
            <a:off x="593155" y="3609544"/>
            <a:ext cx="2068836" cy="400110"/>
          </a:xfrm>
          <a:prstGeom prst="rect">
            <a:avLst/>
          </a:prstGeom>
          <a:noFill/>
        </p:spPr>
        <p:txBody>
          <a:bodyPr wrap="none" rtlCol="0">
            <a:spAutoFit/>
          </a:bodyPr>
          <a:lstStyle/>
          <a:p>
            <a:r>
              <a:rPr lang="en-US" sz="2000">
                <a:solidFill>
                  <a:schemeClr val="bg1"/>
                </a:solidFill>
              </a:rPr>
              <a:t>F(</a:t>
            </a:r>
            <a:r>
              <a:rPr lang="en-US" err="1">
                <a:solidFill>
                  <a:schemeClr val="bg1"/>
                </a:solidFill>
              </a:rPr>
              <a:t>partkey</a:t>
            </a:r>
            <a:r>
              <a:rPr lang="en-US" sz="2000">
                <a:solidFill>
                  <a:schemeClr val="bg1"/>
                </a:solidFill>
              </a:rPr>
              <a:t>) = hash</a:t>
            </a:r>
          </a:p>
        </p:txBody>
      </p:sp>
      <p:cxnSp>
        <p:nvCxnSpPr>
          <p:cNvPr id="13" name="Straight Connector 12">
            <a:extLst>
              <a:ext uri="{FF2B5EF4-FFF2-40B4-BE49-F238E27FC236}">
                <a16:creationId xmlns:a16="http://schemas.microsoft.com/office/drawing/2014/main" id="{784464C0-2886-4A5F-B574-1FCFCA1AF6B6}"/>
              </a:ext>
            </a:extLst>
          </p:cNvPr>
          <p:cNvCxnSpPr>
            <a:cxnSpLocks/>
          </p:cNvCxnSpPr>
          <p:nvPr/>
        </p:nvCxnSpPr>
        <p:spPr>
          <a:xfrm>
            <a:off x="5039117" y="1730899"/>
            <a:ext cx="0" cy="20711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4256CB-97BF-4798-A356-ED6D384D5482}"/>
              </a:ext>
            </a:extLst>
          </p:cNvPr>
          <p:cNvCxnSpPr>
            <a:cxnSpLocks/>
          </p:cNvCxnSpPr>
          <p:nvPr/>
        </p:nvCxnSpPr>
        <p:spPr>
          <a:xfrm>
            <a:off x="5039117" y="4207188"/>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4E059C6-817F-44AF-94E9-402179D42074}"/>
              </a:ext>
            </a:extLst>
          </p:cNvPr>
          <p:cNvSpPr txBox="1"/>
          <p:nvPr/>
        </p:nvSpPr>
        <p:spPr>
          <a:xfrm>
            <a:off x="4578869" y="1726578"/>
            <a:ext cx="316112" cy="385490"/>
          </a:xfrm>
          <a:prstGeom prst="rect">
            <a:avLst/>
          </a:prstGeom>
          <a:noFill/>
        </p:spPr>
        <p:txBody>
          <a:bodyPr wrap="none" rtlCol="0">
            <a:spAutoFit/>
          </a:bodyPr>
          <a:lstStyle/>
          <a:p>
            <a:r>
              <a:rPr lang="en-US" sz="1905">
                <a:solidFill>
                  <a:schemeClr val="bg1"/>
                </a:solidFill>
              </a:rPr>
              <a:t>1</a:t>
            </a:r>
          </a:p>
        </p:txBody>
      </p:sp>
      <p:sp>
        <p:nvSpPr>
          <p:cNvPr id="23" name="TextBox 22">
            <a:extLst>
              <a:ext uri="{FF2B5EF4-FFF2-40B4-BE49-F238E27FC236}">
                <a16:creationId xmlns:a16="http://schemas.microsoft.com/office/drawing/2014/main" id="{13B5173C-E374-4A2B-B9F6-B0116A250CE3}"/>
              </a:ext>
            </a:extLst>
          </p:cNvPr>
          <p:cNvSpPr txBox="1"/>
          <p:nvPr/>
        </p:nvSpPr>
        <p:spPr>
          <a:xfrm>
            <a:off x="4448172" y="3546867"/>
            <a:ext cx="579005" cy="385490"/>
          </a:xfrm>
          <a:prstGeom prst="rect">
            <a:avLst/>
          </a:prstGeom>
          <a:noFill/>
        </p:spPr>
        <p:txBody>
          <a:bodyPr wrap="none" rtlCol="0">
            <a:spAutoFit/>
          </a:bodyPr>
          <a:lstStyle/>
          <a:p>
            <a:r>
              <a:rPr lang="en-US" sz="1905">
                <a:solidFill>
                  <a:schemeClr val="bg1"/>
                </a:solidFill>
              </a:rPr>
              <a:t>100</a:t>
            </a:r>
          </a:p>
        </p:txBody>
      </p:sp>
      <p:sp>
        <p:nvSpPr>
          <p:cNvPr id="25" name="TextBox 24">
            <a:extLst>
              <a:ext uri="{FF2B5EF4-FFF2-40B4-BE49-F238E27FC236}">
                <a16:creationId xmlns:a16="http://schemas.microsoft.com/office/drawing/2014/main" id="{6ADF2083-A49F-4C78-BDDE-9980126BECB7}"/>
              </a:ext>
            </a:extLst>
          </p:cNvPr>
          <p:cNvSpPr txBox="1"/>
          <p:nvPr/>
        </p:nvSpPr>
        <p:spPr>
          <a:xfrm>
            <a:off x="4455029" y="4011757"/>
            <a:ext cx="579005" cy="385490"/>
          </a:xfrm>
          <a:prstGeom prst="rect">
            <a:avLst/>
          </a:prstGeom>
          <a:noFill/>
        </p:spPr>
        <p:txBody>
          <a:bodyPr wrap="none" rtlCol="0">
            <a:spAutoFit/>
          </a:bodyPr>
          <a:lstStyle/>
          <a:p>
            <a:r>
              <a:rPr lang="en-US" sz="1905">
                <a:solidFill>
                  <a:schemeClr val="bg1"/>
                </a:solidFill>
              </a:rPr>
              <a:t>101</a:t>
            </a:r>
          </a:p>
        </p:txBody>
      </p:sp>
      <p:sp>
        <p:nvSpPr>
          <p:cNvPr id="27" name="TextBox 26">
            <a:extLst>
              <a:ext uri="{FF2B5EF4-FFF2-40B4-BE49-F238E27FC236}">
                <a16:creationId xmlns:a16="http://schemas.microsoft.com/office/drawing/2014/main" id="{6F4F1A92-3F47-49AB-B6EF-E91F89B48F77}"/>
              </a:ext>
            </a:extLst>
          </p:cNvPr>
          <p:cNvSpPr txBox="1"/>
          <p:nvPr/>
        </p:nvSpPr>
        <p:spPr>
          <a:xfrm>
            <a:off x="4448172" y="5959573"/>
            <a:ext cx="579005" cy="385490"/>
          </a:xfrm>
          <a:prstGeom prst="rect">
            <a:avLst/>
          </a:prstGeom>
          <a:noFill/>
        </p:spPr>
        <p:txBody>
          <a:bodyPr wrap="none" rtlCol="0">
            <a:spAutoFit/>
          </a:bodyPr>
          <a:lstStyle/>
          <a:p>
            <a:r>
              <a:rPr lang="en-US" sz="1905">
                <a:solidFill>
                  <a:schemeClr val="bg1"/>
                </a:solidFill>
              </a:rPr>
              <a:t>200</a:t>
            </a:r>
          </a:p>
        </p:txBody>
      </p:sp>
      <p:sp>
        <p:nvSpPr>
          <p:cNvPr id="31" name="Rectangle 30">
            <a:extLst>
              <a:ext uri="{FF2B5EF4-FFF2-40B4-BE49-F238E27FC236}">
                <a16:creationId xmlns:a16="http://schemas.microsoft.com/office/drawing/2014/main" id="{0614CA0D-0476-4426-B6B7-B3408B1F606D}"/>
              </a:ext>
            </a:extLst>
          </p:cNvPr>
          <p:cNvSpPr/>
          <p:nvPr/>
        </p:nvSpPr>
        <p:spPr>
          <a:xfrm>
            <a:off x="5369551" y="1631078"/>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dirty="0"/>
              <a:t>Logical p 1</a:t>
            </a:r>
          </a:p>
        </p:txBody>
      </p:sp>
      <p:sp>
        <p:nvSpPr>
          <p:cNvPr id="33" name="Rectangle 32">
            <a:extLst>
              <a:ext uri="{FF2B5EF4-FFF2-40B4-BE49-F238E27FC236}">
                <a16:creationId xmlns:a16="http://schemas.microsoft.com/office/drawing/2014/main" id="{0C4A0AD6-B873-4F13-B66C-3EAF49D8F247}"/>
              </a:ext>
            </a:extLst>
          </p:cNvPr>
          <p:cNvSpPr/>
          <p:nvPr/>
        </p:nvSpPr>
        <p:spPr>
          <a:xfrm>
            <a:off x="5369551" y="2087005"/>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2</a:t>
            </a:r>
          </a:p>
        </p:txBody>
      </p:sp>
      <p:sp>
        <p:nvSpPr>
          <p:cNvPr id="35" name="Rectangle 34">
            <a:extLst>
              <a:ext uri="{FF2B5EF4-FFF2-40B4-BE49-F238E27FC236}">
                <a16:creationId xmlns:a16="http://schemas.microsoft.com/office/drawing/2014/main" id="{30DCFC53-8BDD-49C6-9404-AF35AD3A270C}"/>
              </a:ext>
            </a:extLst>
          </p:cNvPr>
          <p:cNvSpPr/>
          <p:nvPr/>
        </p:nvSpPr>
        <p:spPr>
          <a:xfrm>
            <a:off x="5369551" y="421773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1</a:t>
            </a:r>
            <a:endParaRPr lang="en-US" sz="1693"/>
          </a:p>
        </p:txBody>
      </p:sp>
      <p:sp>
        <p:nvSpPr>
          <p:cNvPr id="37" name="Rectangle 36">
            <a:extLst>
              <a:ext uri="{FF2B5EF4-FFF2-40B4-BE49-F238E27FC236}">
                <a16:creationId xmlns:a16="http://schemas.microsoft.com/office/drawing/2014/main" id="{0C85E59F-3A05-4F4F-8697-FDD76069F486}"/>
              </a:ext>
            </a:extLst>
          </p:cNvPr>
          <p:cNvSpPr/>
          <p:nvPr/>
        </p:nvSpPr>
        <p:spPr>
          <a:xfrm>
            <a:off x="5369551" y="4673661"/>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2</a:t>
            </a:r>
            <a:endParaRPr lang="en-US" sz="1693"/>
          </a:p>
        </p:txBody>
      </p:sp>
      <p:sp>
        <p:nvSpPr>
          <p:cNvPr id="39" name="TextBox 38">
            <a:extLst>
              <a:ext uri="{FF2B5EF4-FFF2-40B4-BE49-F238E27FC236}">
                <a16:creationId xmlns:a16="http://schemas.microsoft.com/office/drawing/2014/main" id="{7F635E69-5A06-4342-B081-C20112FEF60F}"/>
              </a:ext>
            </a:extLst>
          </p:cNvPr>
          <p:cNvSpPr txBox="1"/>
          <p:nvPr/>
        </p:nvSpPr>
        <p:spPr>
          <a:xfrm>
            <a:off x="7354122" y="1772552"/>
            <a:ext cx="3485890" cy="678647"/>
          </a:xfrm>
          <a:prstGeom prst="rect">
            <a:avLst/>
          </a:prstGeom>
          <a:noFill/>
        </p:spPr>
        <p:txBody>
          <a:bodyPr wrap="square" rtlCol="0">
            <a:spAutoFit/>
          </a:bodyPr>
          <a:lstStyle/>
          <a:p>
            <a:r>
              <a:rPr lang="en-US" sz="1905">
                <a:solidFill>
                  <a:schemeClr val="bg1"/>
                </a:solidFill>
              </a:rPr>
              <a:t>20 GB = Max </a:t>
            </a:r>
            <a:r>
              <a:rPr lang="en-US" sz="1905" b="1">
                <a:solidFill>
                  <a:schemeClr val="bg1"/>
                </a:solidFill>
              </a:rPr>
              <a:t>logical </a:t>
            </a:r>
            <a:r>
              <a:rPr lang="en-US" sz="1905">
                <a:solidFill>
                  <a:schemeClr val="bg1"/>
                </a:solidFill>
              </a:rPr>
              <a:t>partition size</a:t>
            </a:r>
          </a:p>
        </p:txBody>
      </p:sp>
      <p:sp>
        <p:nvSpPr>
          <p:cNvPr id="6" name="TextBox 5">
            <a:extLst>
              <a:ext uri="{FF2B5EF4-FFF2-40B4-BE49-F238E27FC236}">
                <a16:creationId xmlns:a16="http://schemas.microsoft.com/office/drawing/2014/main" id="{0E68CE58-8FD8-4DD9-BA3E-CB8C10216C5C}"/>
              </a:ext>
            </a:extLst>
          </p:cNvPr>
          <p:cNvSpPr txBox="1"/>
          <p:nvPr/>
        </p:nvSpPr>
        <p:spPr>
          <a:xfrm>
            <a:off x="801656" y="5094244"/>
            <a:ext cx="2060179" cy="400110"/>
          </a:xfrm>
          <a:prstGeom prst="rect">
            <a:avLst/>
          </a:prstGeom>
          <a:noFill/>
        </p:spPr>
        <p:txBody>
          <a:bodyPr wrap="none" rtlCol="0">
            <a:spAutoFit/>
          </a:bodyPr>
          <a:lstStyle/>
          <a:p>
            <a:r>
              <a:rPr lang="en-US" sz="2000">
                <a:solidFill>
                  <a:schemeClr val="bg1"/>
                </a:solidFill>
              </a:rPr>
              <a:t>F(</a:t>
            </a:r>
            <a:r>
              <a:rPr lang="en-US">
                <a:solidFill>
                  <a:schemeClr val="bg1"/>
                </a:solidFill>
              </a:rPr>
              <a:t>“Seattle”</a:t>
            </a:r>
            <a:r>
              <a:rPr lang="en-US" sz="2000">
                <a:solidFill>
                  <a:schemeClr val="bg1"/>
                </a:solidFill>
              </a:rPr>
              <a:t>) = 101</a:t>
            </a:r>
          </a:p>
        </p:txBody>
      </p:sp>
      <p:sp>
        <p:nvSpPr>
          <p:cNvPr id="8" name="TextBox 7">
            <a:extLst>
              <a:ext uri="{FF2B5EF4-FFF2-40B4-BE49-F238E27FC236}">
                <a16:creationId xmlns:a16="http://schemas.microsoft.com/office/drawing/2014/main" id="{5CC8B014-728F-4817-A1A1-34413801D569}"/>
              </a:ext>
            </a:extLst>
          </p:cNvPr>
          <p:cNvSpPr txBox="1"/>
          <p:nvPr/>
        </p:nvSpPr>
        <p:spPr>
          <a:xfrm>
            <a:off x="801655" y="5437600"/>
            <a:ext cx="2051139" cy="400110"/>
          </a:xfrm>
          <a:prstGeom prst="rect">
            <a:avLst/>
          </a:prstGeom>
          <a:noFill/>
        </p:spPr>
        <p:txBody>
          <a:bodyPr wrap="none" rtlCol="0">
            <a:spAutoFit/>
          </a:bodyPr>
          <a:lstStyle/>
          <a:p>
            <a:r>
              <a:rPr lang="en-US" sz="2000">
                <a:solidFill>
                  <a:schemeClr val="bg1"/>
                </a:solidFill>
              </a:rPr>
              <a:t>F(</a:t>
            </a:r>
            <a:r>
              <a:rPr lang="en-US">
                <a:solidFill>
                  <a:schemeClr val="bg1"/>
                </a:solidFill>
              </a:rPr>
              <a:t>“New York”</a:t>
            </a:r>
            <a:r>
              <a:rPr lang="en-US" sz="2000">
                <a:solidFill>
                  <a:schemeClr val="bg1"/>
                </a:solidFill>
              </a:rPr>
              <a:t>) = 1</a:t>
            </a:r>
          </a:p>
        </p:txBody>
      </p:sp>
      <p:sp>
        <p:nvSpPr>
          <p:cNvPr id="10" name="TextBox 9">
            <a:extLst>
              <a:ext uri="{FF2B5EF4-FFF2-40B4-BE49-F238E27FC236}">
                <a16:creationId xmlns:a16="http://schemas.microsoft.com/office/drawing/2014/main" id="{536F5AE4-34D8-48D5-9E73-2D410CC54AFF}"/>
              </a:ext>
            </a:extLst>
          </p:cNvPr>
          <p:cNvSpPr txBox="1"/>
          <p:nvPr/>
        </p:nvSpPr>
        <p:spPr>
          <a:xfrm>
            <a:off x="813595" y="5778724"/>
            <a:ext cx="1972015" cy="400110"/>
          </a:xfrm>
          <a:prstGeom prst="rect">
            <a:avLst/>
          </a:prstGeom>
          <a:noFill/>
        </p:spPr>
        <p:txBody>
          <a:bodyPr wrap="none" rtlCol="0">
            <a:spAutoFit/>
          </a:bodyPr>
          <a:lstStyle/>
          <a:p>
            <a:r>
              <a:rPr lang="en-US" sz="2000">
                <a:solidFill>
                  <a:schemeClr val="bg1"/>
                </a:solidFill>
              </a:rPr>
              <a:t>F(</a:t>
            </a:r>
            <a:r>
              <a:rPr lang="en-US">
                <a:solidFill>
                  <a:schemeClr val="bg1"/>
                </a:solidFill>
              </a:rPr>
              <a:t>“Dallas”</a:t>
            </a:r>
            <a:r>
              <a:rPr lang="en-US" sz="2000">
                <a:solidFill>
                  <a:schemeClr val="bg1"/>
                </a:solidFill>
              </a:rPr>
              <a:t>) = 102</a:t>
            </a:r>
          </a:p>
        </p:txBody>
      </p:sp>
      <p:cxnSp>
        <p:nvCxnSpPr>
          <p:cNvPr id="14" name="Straight Arrow Connector 13">
            <a:extLst>
              <a:ext uri="{FF2B5EF4-FFF2-40B4-BE49-F238E27FC236}">
                <a16:creationId xmlns:a16="http://schemas.microsoft.com/office/drawing/2014/main" id="{42A4B418-39A2-4FDB-BE69-24D9EFC095D0}"/>
              </a:ext>
            </a:extLst>
          </p:cNvPr>
          <p:cNvCxnSpPr>
            <a:cxnSpLocks/>
          </p:cNvCxnSpPr>
          <p:nvPr/>
        </p:nvCxnSpPr>
        <p:spPr>
          <a:xfrm flipH="1">
            <a:off x="6608678" y="1996315"/>
            <a:ext cx="651035" cy="3039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DB55322-191D-4830-82F4-F1B070C6512B}"/>
              </a:ext>
            </a:extLst>
          </p:cNvPr>
          <p:cNvCxnSpPr>
            <a:cxnSpLocks/>
          </p:cNvCxnSpPr>
          <p:nvPr/>
        </p:nvCxnSpPr>
        <p:spPr>
          <a:xfrm flipH="1" flipV="1">
            <a:off x="6507075" y="1801187"/>
            <a:ext cx="752638" cy="193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33D136-44AD-49F3-A0FF-38BF4478FDF4}"/>
              </a:ext>
            </a:extLst>
          </p:cNvPr>
          <p:cNvSpPr txBox="1"/>
          <p:nvPr/>
        </p:nvSpPr>
        <p:spPr>
          <a:xfrm>
            <a:off x="7354122" y="3666298"/>
            <a:ext cx="4127092" cy="678647"/>
          </a:xfrm>
          <a:prstGeom prst="rect">
            <a:avLst/>
          </a:prstGeom>
          <a:noFill/>
        </p:spPr>
        <p:txBody>
          <a:bodyPr wrap="none" rtlCol="0">
            <a:spAutoFit/>
          </a:bodyPr>
          <a:lstStyle/>
          <a:p>
            <a:r>
              <a:rPr lang="en-US" sz="1905">
                <a:solidFill>
                  <a:schemeClr val="bg1"/>
                </a:solidFill>
              </a:rPr>
              <a:t>MAX: 10 K RUs per physical partition</a:t>
            </a:r>
          </a:p>
          <a:p>
            <a:r>
              <a:rPr lang="en-US" sz="1905">
                <a:solidFill>
                  <a:schemeClr val="bg1"/>
                </a:solidFill>
              </a:rPr>
              <a:t>MAX: 50 GB</a:t>
            </a:r>
          </a:p>
        </p:txBody>
      </p:sp>
      <p:cxnSp>
        <p:nvCxnSpPr>
          <p:cNvPr id="34" name="Straight Arrow Connector 33">
            <a:extLst>
              <a:ext uri="{FF2B5EF4-FFF2-40B4-BE49-F238E27FC236}">
                <a16:creationId xmlns:a16="http://schemas.microsoft.com/office/drawing/2014/main" id="{B37D8C18-7F9B-4F51-BAEB-6EA852C62348}"/>
              </a:ext>
            </a:extLst>
          </p:cNvPr>
          <p:cNvCxnSpPr>
            <a:cxnSpLocks/>
          </p:cNvCxnSpPr>
          <p:nvPr/>
        </p:nvCxnSpPr>
        <p:spPr>
          <a:xfrm flipH="1">
            <a:off x="6524897" y="3932357"/>
            <a:ext cx="849732" cy="20272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2D6A4AD0-A812-42C8-B0C7-7BE236B2DFE5}"/>
              </a:ext>
            </a:extLst>
          </p:cNvPr>
          <p:cNvCxnSpPr>
            <a:cxnSpLocks/>
          </p:cNvCxnSpPr>
          <p:nvPr/>
        </p:nvCxnSpPr>
        <p:spPr>
          <a:xfrm flipH="1" flipV="1">
            <a:off x="6461623" y="3609544"/>
            <a:ext cx="913006" cy="3214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E5EE1CC1-44D4-41AF-9E60-617A07D52666}"/>
              </a:ext>
            </a:extLst>
          </p:cNvPr>
          <p:cNvSpPr txBox="1"/>
          <p:nvPr/>
        </p:nvSpPr>
        <p:spPr>
          <a:xfrm>
            <a:off x="7354122" y="5089375"/>
            <a:ext cx="3883413" cy="1264962"/>
          </a:xfrm>
          <a:prstGeom prst="rect">
            <a:avLst/>
          </a:prstGeom>
          <a:noFill/>
        </p:spPr>
        <p:txBody>
          <a:bodyPr wrap="square" rtlCol="0">
            <a:spAutoFit/>
          </a:bodyPr>
          <a:lstStyle/>
          <a:p>
            <a:r>
              <a:rPr lang="en-US" sz="1905">
                <a:solidFill>
                  <a:schemeClr val="bg1"/>
                </a:solidFill>
              </a:rPr>
              <a:t>Collection with 15000 RUs =&gt; at least 2 physical partitions.</a:t>
            </a:r>
          </a:p>
          <a:p>
            <a:endParaRPr lang="en-US" sz="1905">
              <a:solidFill>
                <a:schemeClr val="bg1"/>
              </a:solidFill>
            </a:endParaRPr>
          </a:p>
          <a:p>
            <a:r>
              <a:rPr lang="en-US" sz="1905">
                <a:solidFill>
                  <a:schemeClr val="bg1"/>
                </a:solidFill>
              </a:rPr>
              <a:t>7500 RUs foreach partition</a:t>
            </a:r>
          </a:p>
        </p:txBody>
      </p:sp>
      <p:sp>
        <p:nvSpPr>
          <p:cNvPr id="48" name="TextBox 47">
            <a:extLst>
              <a:ext uri="{FF2B5EF4-FFF2-40B4-BE49-F238E27FC236}">
                <a16:creationId xmlns:a16="http://schemas.microsoft.com/office/drawing/2014/main" id="{99073034-997F-46F6-9BC0-38C910AF344E}"/>
              </a:ext>
            </a:extLst>
          </p:cNvPr>
          <p:cNvSpPr txBox="1"/>
          <p:nvPr/>
        </p:nvSpPr>
        <p:spPr>
          <a:xfrm>
            <a:off x="823119" y="6082744"/>
            <a:ext cx="1904367" cy="400110"/>
          </a:xfrm>
          <a:prstGeom prst="rect">
            <a:avLst/>
          </a:prstGeom>
          <a:noFill/>
        </p:spPr>
        <p:txBody>
          <a:bodyPr wrap="none" rtlCol="0">
            <a:spAutoFit/>
          </a:bodyPr>
          <a:lstStyle/>
          <a:p>
            <a:r>
              <a:rPr lang="en-US" sz="2000" dirty="0">
                <a:solidFill>
                  <a:schemeClr val="bg1"/>
                </a:solidFill>
              </a:rPr>
              <a:t>F(</a:t>
            </a:r>
            <a:r>
              <a:rPr lang="en-US" dirty="0">
                <a:solidFill>
                  <a:schemeClr val="bg1"/>
                </a:solidFill>
              </a:rPr>
              <a:t>“Orlando”</a:t>
            </a:r>
            <a:r>
              <a:rPr lang="en-US" sz="2000" dirty="0">
                <a:solidFill>
                  <a:schemeClr val="bg1"/>
                </a:solidFill>
              </a:rPr>
              <a:t>) = 2</a:t>
            </a:r>
          </a:p>
        </p:txBody>
      </p:sp>
      <p:sp>
        <p:nvSpPr>
          <p:cNvPr id="53" name="TextBox 52">
            <a:extLst>
              <a:ext uri="{FF2B5EF4-FFF2-40B4-BE49-F238E27FC236}">
                <a16:creationId xmlns:a16="http://schemas.microsoft.com/office/drawing/2014/main" id="{88805054-7144-4C00-8513-7FCE74E89AF3}"/>
              </a:ext>
            </a:extLst>
          </p:cNvPr>
          <p:cNvSpPr txBox="1"/>
          <p:nvPr/>
        </p:nvSpPr>
        <p:spPr>
          <a:xfrm>
            <a:off x="633449" y="1927796"/>
            <a:ext cx="2332305" cy="707886"/>
          </a:xfrm>
          <a:prstGeom prst="rect">
            <a:avLst/>
          </a:prstGeom>
          <a:noFill/>
        </p:spPr>
        <p:txBody>
          <a:bodyPr wrap="none" rtlCol="0">
            <a:spAutoFit/>
          </a:bodyPr>
          <a:lstStyle/>
          <a:p>
            <a:r>
              <a:rPr lang="en-US" sz="2000" dirty="0">
                <a:solidFill>
                  <a:schemeClr val="bg1"/>
                </a:solidFill>
              </a:rPr>
              <a:t>Consistent hashing</a:t>
            </a:r>
          </a:p>
          <a:p>
            <a:r>
              <a:rPr lang="en-US" sz="2000" dirty="0">
                <a:solidFill>
                  <a:schemeClr val="bg1"/>
                </a:solidFill>
              </a:rPr>
              <a:t>algorithm</a:t>
            </a:r>
          </a:p>
        </p:txBody>
      </p:sp>
      <p:sp>
        <p:nvSpPr>
          <p:cNvPr id="32" name="Rectangle 31">
            <a:extLst>
              <a:ext uri="{FF2B5EF4-FFF2-40B4-BE49-F238E27FC236}">
                <a16:creationId xmlns:a16="http://schemas.microsoft.com/office/drawing/2014/main" id="{EABA3131-148E-9A9F-E368-87164E96B4B9}"/>
              </a:ext>
            </a:extLst>
          </p:cNvPr>
          <p:cNvSpPr/>
          <p:nvPr/>
        </p:nvSpPr>
        <p:spPr>
          <a:xfrm>
            <a:off x="7212210" y="224964"/>
            <a:ext cx="3769713" cy="116380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400" dirty="0"/>
          </a:p>
          <a:p>
            <a:pPr algn="ctr"/>
            <a:r>
              <a:rPr lang="en-US" sz="1400" dirty="0"/>
              <a:t>{ id = GUID1, City = “Seattle”, P1 = “X” }</a:t>
            </a:r>
          </a:p>
          <a:p>
            <a:pPr algn="ctr"/>
            <a:r>
              <a:rPr lang="en-US" sz="1400" dirty="0"/>
              <a:t>{ id = GUID2, City = “Seattle”, P1 = “Z” }</a:t>
            </a:r>
          </a:p>
          <a:p>
            <a:pPr algn="ctr"/>
            <a:r>
              <a:rPr lang="en-US" sz="1400" dirty="0"/>
              <a:t>{ id = GUID3, City = “Seattle”, P1 = “A” }</a:t>
            </a:r>
          </a:p>
          <a:p>
            <a:pPr algn="ctr"/>
            <a:r>
              <a:rPr lang="en-US" sz="1400" dirty="0"/>
              <a:t>{ id = GUID4, City = “Seattle”, P1 = “B” }</a:t>
            </a:r>
          </a:p>
          <a:p>
            <a:pPr algn="ctr"/>
            <a:endParaRPr lang="en-US" sz="1400" dirty="0"/>
          </a:p>
        </p:txBody>
      </p:sp>
      <p:cxnSp>
        <p:nvCxnSpPr>
          <p:cNvPr id="2" name="Straight Arrow Connector 1">
            <a:extLst>
              <a:ext uri="{FF2B5EF4-FFF2-40B4-BE49-F238E27FC236}">
                <a16:creationId xmlns:a16="http://schemas.microsoft.com/office/drawing/2014/main" id="{12048407-D3E3-D388-3C74-54DE1200199B}"/>
              </a:ext>
            </a:extLst>
          </p:cNvPr>
          <p:cNvCxnSpPr>
            <a:cxnSpLocks/>
          </p:cNvCxnSpPr>
          <p:nvPr/>
        </p:nvCxnSpPr>
        <p:spPr>
          <a:xfrm flipV="1">
            <a:off x="6511480" y="1103206"/>
            <a:ext cx="842642" cy="3241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776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1000"/>
                                        <p:tgtEl>
                                          <p:spTgt spid="41"/>
                                        </p:tgtEl>
                                      </p:cBhvr>
                                    </p:animEffect>
                                    <p:anim calcmode="lin" valueType="num">
                                      <p:cBhvr>
                                        <p:cTn id="8" dur="1000" fill="hold"/>
                                        <p:tgtEl>
                                          <p:spTgt spid="41"/>
                                        </p:tgtEl>
                                        <p:attrNameLst>
                                          <p:attrName>ppt_x</p:attrName>
                                        </p:attrNameLst>
                                      </p:cBhvr>
                                      <p:tavLst>
                                        <p:tav tm="0">
                                          <p:val>
                                            <p:strVal val="#ppt_x"/>
                                          </p:val>
                                        </p:tav>
                                        <p:tav tm="100000">
                                          <p:val>
                                            <p:strVal val="#ppt_x"/>
                                          </p:val>
                                        </p:tav>
                                      </p:tavLst>
                                    </p:anim>
                                    <p:anim calcmode="lin" valueType="num">
                                      <p:cBhvr>
                                        <p:cTn id="9" dur="1000" fill="hold"/>
                                        <p:tgtEl>
                                          <p:spTgt spid="4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anim calcmode="lin" valueType="num">
                                      <p:cBhvr>
                                        <p:cTn id="13" dur="1000" fill="hold"/>
                                        <p:tgtEl>
                                          <p:spTgt spid="34"/>
                                        </p:tgtEl>
                                        <p:attrNameLst>
                                          <p:attrName>ppt_x</p:attrName>
                                        </p:attrNameLst>
                                      </p:cBhvr>
                                      <p:tavLst>
                                        <p:tav tm="0">
                                          <p:val>
                                            <p:strVal val="#ppt_x"/>
                                          </p:val>
                                        </p:tav>
                                        <p:tav tm="100000">
                                          <p:val>
                                            <p:strVal val="#ppt_x"/>
                                          </p:val>
                                        </p:tav>
                                      </p:tavLst>
                                    </p:anim>
                                    <p:anim calcmode="lin" valueType="num">
                                      <p:cBhvr>
                                        <p:cTn id="14" dur="1000" fill="hold"/>
                                        <p:tgtEl>
                                          <p:spTgt spid="3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1000"/>
                                        <p:tgtEl>
                                          <p:spTgt spid="47"/>
                                        </p:tgtEl>
                                      </p:cBhvr>
                                    </p:animEffect>
                                    <p:anim calcmode="lin" valueType="num">
                                      <p:cBhvr>
                                        <p:cTn id="25" dur="1000" fill="hold"/>
                                        <p:tgtEl>
                                          <p:spTgt spid="47"/>
                                        </p:tgtEl>
                                        <p:attrNameLst>
                                          <p:attrName>ppt_x</p:attrName>
                                        </p:attrNameLst>
                                      </p:cBhvr>
                                      <p:tavLst>
                                        <p:tav tm="0">
                                          <p:val>
                                            <p:strVal val="#ppt_x"/>
                                          </p:val>
                                        </p:tav>
                                        <p:tav tm="100000">
                                          <p:val>
                                            <p:strVal val="#ppt_x"/>
                                          </p:val>
                                        </p:tav>
                                      </p:tavLst>
                                    </p:anim>
                                    <p:anim calcmode="lin" valueType="num">
                                      <p:cBhvr>
                                        <p:cTn id="26" dur="1000" fill="hold"/>
                                        <p:tgtEl>
                                          <p:spTgt spid="4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1000"/>
                                        <p:tgtEl>
                                          <p:spTgt spid="8"/>
                                        </p:tgtEl>
                                      </p:cBhvr>
                                    </p:animEffect>
                                    <p:anim calcmode="lin" valueType="num">
                                      <p:cBhvr>
                                        <p:cTn id="37" dur="1000" fill="hold"/>
                                        <p:tgtEl>
                                          <p:spTgt spid="8"/>
                                        </p:tgtEl>
                                        <p:attrNameLst>
                                          <p:attrName>ppt_x</p:attrName>
                                        </p:attrNameLst>
                                      </p:cBhvr>
                                      <p:tavLst>
                                        <p:tav tm="0">
                                          <p:val>
                                            <p:strVal val="#ppt_x"/>
                                          </p:val>
                                        </p:tav>
                                        <p:tav tm="100000">
                                          <p:val>
                                            <p:strVal val="#ppt_x"/>
                                          </p:val>
                                        </p:tav>
                                      </p:tavLst>
                                    </p:anim>
                                    <p:anim calcmode="lin" valueType="num">
                                      <p:cBhvr>
                                        <p:cTn id="38" dur="1000" fill="hold"/>
                                        <p:tgtEl>
                                          <p:spTgt spid="8"/>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1000"/>
                                        <p:tgtEl>
                                          <p:spTgt spid="10"/>
                                        </p:tgtEl>
                                      </p:cBhvr>
                                    </p:animEffect>
                                    <p:anim calcmode="lin" valueType="num">
                                      <p:cBhvr>
                                        <p:cTn id="42" dur="1000" fill="hold"/>
                                        <p:tgtEl>
                                          <p:spTgt spid="10"/>
                                        </p:tgtEl>
                                        <p:attrNameLst>
                                          <p:attrName>ppt_x</p:attrName>
                                        </p:attrNameLst>
                                      </p:cBhvr>
                                      <p:tavLst>
                                        <p:tav tm="0">
                                          <p:val>
                                            <p:strVal val="#ppt_x"/>
                                          </p:val>
                                        </p:tav>
                                        <p:tav tm="100000">
                                          <p:val>
                                            <p:strVal val="#ppt_x"/>
                                          </p:val>
                                        </p:tav>
                                      </p:tavLst>
                                    </p:anim>
                                    <p:anim calcmode="lin" valueType="num">
                                      <p:cBhvr>
                                        <p:cTn id="43" dur="1000" fill="hold"/>
                                        <p:tgtEl>
                                          <p:spTgt spid="1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1000"/>
                                        <p:tgtEl>
                                          <p:spTgt spid="48"/>
                                        </p:tgtEl>
                                      </p:cBhvr>
                                    </p:animEffect>
                                    <p:anim calcmode="lin" valueType="num">
                                      <p:cBhvr>
                                        <p:cTn id="47" dur="1000" fill="hold"/>
                                        <p:tgtEl>
                                          <p:spTgt spid="48"/>
                                        </p:tgtEl>
                                        <p:attrNameLst>
                                          <p:attrName>ppt_x</p:attrName>
                                        </p:attrNameLst>
                                      </p:cBhvr>
                                      <p:tavLst>
                                        <p:tav tm="0">
                                          <p:val>
                                            <p:strVal val="#ppt_x"/>
                                          </p:val>
                                        </p:tav>
                                        <p:tav tm="100000">
                                          <p:val>
                                            <p:strVal val="#ppt_x"/>
                                          </p:val>
                                        </p:tav>
                                      </p:tavLst>
                                    </p:anim>
                                    <p:anim calcmode="lin" valueType="num">
                                      <p:cBhvr>
                                        <p:cTn id="48"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1000"/>
                                        <p:tgtEl>
                                          <p:spTgt spid="33"/>
                                        </p:tgtEl>
                                      </p:cBhvr>
                                    </p:animEffect>
                                    <p:anim calcmode="lin" valueType="num">
                                      <p:cBhvr>
                                        <p:cTn id="54" dur="1000" fill="hold"/>
                                        <p:tgtEl>
                                          <p:spTgt spid="33"/>
                                        </p:tgtEl>
                                        <p:attrNameLst>
                                          <p:attrName>ppt_x</p:attrName>
                                        </p:attrNameLst>
                                      </p:cBhvr>
                                      <p:tavLst>
                                        <p:tav tm="0">
                                          <p:val>
                                            <p:strVal val="#ppt_x"/>
                                          </p:val>
                                        </p:tav>
                                        <p:tav tm="100000">
                                          <p:val>
                                            <p:strVal val="#ppt_x"/>
                                          </p:val>
                                        </p:tav>
                                      </p:tavLst>
                                    </p:anim>
                                    <p:anim calcmode="lin" valueType="num">
                                      <p:cBhvr>
                                        <p:cTn id="55" dur="1000" fill="hold"/>
                                        <p:tgtEl>
                                          <p:spTgt spid="33"/>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1000"/>
                                        <p:tgtEl>
                                          <p:spTgt spid="31"/>
                                        </p:tgtEl>
                                      </p:cBhvr>
                                    </p:animEffect>
                                    <p:anim calcmode="lin" valueType="num">
                                      <p:cBhvr>
                                        <p:cTn id="59" dur="1000" fill="hold"/>
                                        <p:tgtEl>
                                          <p:spTgt spid="31"/>
                                        </p:tgtEl>
                                        <p:attrNameLst>
                                          <p:attrName>ppt_x</p:attrName>
                                        </p:attrNameLst>
                                      </p:cBhvr>
                                      <p:tavLst>
                                        <p:tav tm="0">
                                          <p:val>
                                            <p:strVal val="#ppt_x"/>
                                          </p:val>
                                        </p:tav>
                                        <p:tav tm="100000">
                                          <p:val>
                                            <p:strVal val="#ppt_x"/>
                                          </p:val>
                                        </p:tav>
                                      </p:tavLst>
                                    </p:anim>
                                    <p:anim calcmode="lin" valueType="num">
                                      <p:cBhvr>
                                        <p:cTn id="60" dur="1000" fill="hold"/>
                                        <p:tgtEl>
                                          <p:spTgt spid="31"/>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anim calcmode="lin" valueType="num">
                                      <p:cBhvr>
                                        <p:cTn id="64" dur="1000" fill="hold"/>
                                        <p:tgtEl>
                                          <p:spTgt spid="35"/>
                                        </p:tgtEl>
                                        <p:attrNameLst>
                                          <p:attrName>ppt_x</p:attrName>
                                        </p:attrNameLst>
                                      </p:cBhvr>
                                      <p:tavLst>
                                        <p:tav tm="0">
                                          <p:val>
                                            <p:strVal val="#ppt_x"/>
                                          </p:val>
                                        </p:tav>
                                        <p:tav tm="100000">
                                          <p:val>
                                            <p:strVal val="#ppt_x"/>
                                          </p:val>
                                        </p:tav>
                                      </p:tavLst>
                                    </p:anim>
                                    <p:anim calcmode="lin" valueType="num">
                                      <p:cBhvr>
                                        <p:cTn id="65" dur="1000" fill="hold"/>
                                        <p:tgtEl>
                                          <p:spTgt spid="35"/>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1000"/>
                                        <p:tgtEl>
                                          <p:spTgt spid="37"/>
                                        </p:tgtEl>
                                      </p:cBhvr>
                                    </p:animEffect>
                                    <p:anim calcmode="lin" valueType="num">
                                      <p:cBhvr>
                                        <p:cTn id="69" dur="1000" fill="hold"/>
                                        <p:tgtEl>
                                          <p:spTgt spid="37"/>
                                        </p:tgtEl>
                                        <p:attrNameLst>
                                          <p:attrName>ppt_x</p:attrName>
                                        </p:attrNameLst>
                                      </p:cBhvr>
                                      <p:tavLst>
                                        <p:tav tm="0">
                                          <p:val>
                                            <p:strVal val="#ppt_x"/>
                                          </p:val>
                                        </p:tav>
                                        <p:tav tm="100000">
                                          <p:val>
                                            <p:strVal val="#ppt_x"/>
                                          </p:val>
                                        </p:tav>
                                      </p:tavLst>
                                    </p:anim>
                                    <p:anim calcmode="lin" valueType="num">
                                      <p:cBhvr>
                                        <p:cTn id="70"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1000"/>
                                        <p:tgtEl>
                                          <p:spTgt spid="39"/>
                                        </p:tgtEl>
                                      </p:cBhvr>
                                    </p:animEffect>
                                    <p:anim calcmode="lin" valueType="num">
                                      <p:cBhvr>
                                        <p:cTn id="76" dur="1000" fill="hold"/>
                                        <p:tgtEl>
                                          <p:spTgt spid="39"/>
                                        </p:tgtEl>
                                        <p:attrNameLst>
                                          <p:attrName>ppt_x</p:attrName>
                                        </p:attrNameLst>
                                      </p:cBhvr>
                                      <p:tavLst>
                                        <p:tav tm="0">
                                          <p:val>
                                            <p:strVal val="#ppt_x"/>
                                          </p:val>
                                        </p:tav>
                                        <p:tav tm="100000">
                                          <p:val>
                                            <p:strVal val="#ppt_x"/>
                                          </p:val>
                                        </p:tav>
                                      </p:tavLst>
                                    </p:anim>
                                    <p:anim calcmode="lin" valueType="num">
                                      <p:cBhvr>
                                        <p:cTn id="77" dur="1000" fill="hold"/>
                                        <p:tgtEl>
                                          <p:spTgt spid="39"/>
                                        </p:tgtEl>
                                        <p:attrNameLst>
                                          <p:attrName>ppt_y</p:attrName>
                                        </p:attrNameLst>
                                      </p:cBhvr>
                                      <p:tavLst>
                                        <p:tav tm="0">
                                          <p:val>
                                            <p:strVal val="#ppt_y+.1"/>
                                          </p:val>
                                        </p:tav>
                                        <p:tav tm="100000">
                                          <p:val>
                                            <p:strVal val="#ppt_y"/>
                                          </p:val>
                                        </p:tav>
                                      </p:tavLst>
                                    </p:anim>
                                  </p:childTnLst>
                                </p:cTn>
                              </p:par>
                              <p:par>
                                <p:cTn id="78" presetID="42" presetClass="entr" presetSubtype="0" fill="hold" nodeType="withEffect">
                                  <p:stCondLst>
                                    <p:cond delay="0"/>
                                  </p:stCondLst>
                                  <p:childTnLst>
                                    <p:set>
                                      <p:cBhvr>
                                        <p:cTn id="79" dur="1" fill="hold">
                                          <p:stCondLst>
                                            <p:cond delay="0"/>
                                          </p:stCondLst>
                                        </p:cTn>
                                        <p:tgtEl>
                                          <p:spTgt spid="14"/>
                                        </p:tgtEl>
                                        <p:attrNameLst>
                                          <p:attrName>style.visibility</p:attrName>
                                        </p:attrNameLst>
                                      </p:cBhvr>
                                      <p:to>
                                        <p:strVal val="visible"/>
                                      </p:to>
                                    </p:set>
                                    <p:animEffect transition="in" filter="fade">
                                      <p:cBhvr>
                                        <p:cTn id="80" dur="1000"/>
                                        <p:tgtEl>
                                          <p:spTgt spid="14"/>
                                        </p:tgtEl>
                                      </p:cBhvr>
                                    </p:animEffect>
                                    <p:anim calcmode="lin" valueType="num">
                                      <p:cBhvr>
                                        <p:cTn id="81" dur="1000" fill="hold"/>
                                        <p:tgtEl>
                                          <p:spTgt spid="14"/>
                                        </p:tgtEl>
                                        <p:attrNameLst>
                                          <p:attrName>ppt_x</p:attrName>
                                        </p:attrNameLst>
                                      </p:cBhvr>
                                      <p:tavLst>
                                        <p:tav tm="0">
                                          <p:val>
                                            <p:strVal val="#ppt_x"/>
                                          </p:val>
                                        </p:tav>
                                        <p:tav tm="100000">
                                          <p:val>
                                            <p:strVal val="#ppt_x"/>
                                          </p:val>
                                        </p:tav>
                                      </p:tavLst>
                                    </p:anim>
                                    <p:anim calcmode="lin" valueType="num">
                                      <p:cBhvr>
                                        <p:cTn id="82" dur="1000" fill="hold"/>
                                        <p:tgtEl>
                                          <p:spTgt spid="14"/>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1000"/>
                                        <p:tgtEl>
                                          <p:spTgt spid="20"/>
                                        </p:tgtEl>
                                      </p:cBhvr>
                                    </p:animEffect>
                                    <p:anim calcmode="lin" valueType="num">
                                      <p:cBhvr>
                                        <p:cTn id="86" dur="1000" fill="hold"/>
                                        <p:tgtEl>
                                          <p:spTgt spid="20"/>
                                        </p:tgtEl>
                                        <p:attrNameLst>
                                          <p:attrName>ppt_x</p:attrName>
                                        </p:attrNameLst>
                                      </p:cBhvr>
                                      <p:tavLst>
                                        <p:tav tm="0">
                                          <p:val>
                                            <p:strVal val="#ppt_x"/>
                                          </p:val>
                                        </p:tav>
                                        <p:tav tm="100000">
                                          <p:val>
                                            <p:strVal val="#ppt_x"/>
                                          </p:val>
                                        </p:tav>
                                      </p:tavLst>
                                    </p:anim>
                                    <p:anim calcmode="lin" valueType="num">
                                      <p:cBhvr>
                                        <p:cTn id="87"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53"/>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42" presetClass="entr" presetSubtype="0" fill="hold" grpId="0" nodeType="clickEffect">
                                  <p:stCondLst>
                                    <p:cond delay="0"/>
                                  </p:stCondLst>
                                  <p:childTnLst>
                                    <p:set>
                                      <p:cBhvr>
                                        <p:cTn id="95" dur="1" fill="hold">
                                          <p:stCondLst>
                                            <p:cond delay="0"/>
                                          </p:stCondLst>
                                        </p:cTn>
                                        <p:tgtEl>
                                          <p:spTgt spid="32"/>
                                        </p:tgtEl>
                                        <p:attrNameLst>
                                          <p:attrName>style.visibility</p:attrName>
                                        </p:attrNameLst>
                                      </p:cBhvr>
                                      <p:to>
                                        <p:strVal val="visible"/>
                                      </p:to>
                                    </p:set>
                                    <p:animEffect transition="in" filter="fade">
                                      <p:cBhvr>
                                        <p:cTn id="96" dur="1000"/>
                                        <p:tgtEl>
                                          <p:spTgt spid="32"/>
                                        </p:tgtEl>
                                      </p:cBhvr>
                                    </p:animEffect>
                                    <p:anim calcmode="lin" valueType="num">
                                      <p:cBhvr>
                                        <p:cTn id="97" dur="1000" fill="hold"/>
                                        <p:tgtEl>
                                          <p:spTgt spid="32"/>
                                        </p:tgtEl>
                                        <p:attrNameLst>
                                          <p:attrName>ppt_x</p:attrName>
                                        </p:attrNameLst>
                                      </p:cBhvr>
                                      <p:tavLst>
                                        <p:tav tm="0">
                                          <p:val>
                                            <p:strVal val="#ppt_x"/>
                                          </p:val>
                                        </p:tav>
                                        <p:tav tm="100000">
                                          <p:val>
                                            <p:strVal val="#ppt_x"/>
                                          </p:val>
                                        </p:tav>
                                      </p:tavLst>
                                    </p:anim>
                                    <p:anim calcmode="lin" valueType="num">
                                      <p:cBhvr>
                                        <p:cTn id="98" dur="1000" fill="hold"/>
                                        <p:tgtEl>
                                          <p:spTgt spid="32"/>
                                        </p:tgtEl>
                                        <p:attrNameLst>
                                          <p:attrName>ppt_y</p:attrName>
                                        </p:attrNameLst>
                                      </p:cBhvr>
                                      <p:tavLst>
                                        <p:tav tm="0">
                                          <p:val>
                                            <p:strVal val="#ppt_y+.1"/>
                                          </p:val>
                                        </p:tav>
                                        <p:tav tm="100000">
                                          <p:val>
                                            <p:strVal val="#ppt_y"/>
                                          </p:val>
                                        </p:tav>
                                      </p:tavLst>
                                    </p:anim>
                                  </p:childTnLst>
                                </p:cTn>
                              </p:par>
                              <p:par>
                                <p:cTn id="99" presetID="2" presetClass="entr" presetSubtype="4" fill="hold" nodeType="withEffect">
                                  <p:stCondLst>
                                    <p:cond delay="0"/>
                                  </p:stCondLst>
                                  <p:childTnLst>
                                    <p:set>
                                      <p:cBhvr>
                                        <p:cTn id="100" dur="1" fill="hold">
                                          <p:stCondLst>
                                            <p:cond delay="0"/>
                                          </p:stCondLst>
                                        </p:cTn>
                                        <p:tgtEl>
                                          <p:spTgt spid="2"/>
                                        </p:tgtEl>
                                        <p:attrNameLst>
                                          <p:attrName>style.visibility</p:attrName>
                                        </p:attrNameLst>
                                      </p:cBhvr>
                                      <p:to>
                                        <p:strVal val="visible"/>
                                      </p:to>
                                    </p:set>
                                    <p:anim calcmode="lin" valueType="num">
                                      <p:cBhvr additive="base">
                                        <p:cTn id="101" dur="500" fill="hold"/>
                                        <p:tgtEl>
                                          <p:spTgt spid="2"/>
                                        </p:tgtEl>
                                        <p:attrNameLst>
                                          <p:attrName>ppt_x</p:attrName>
                                        </p:attrNameLst>
                                      </p:cBhvr>
                                      <p:tavLst>
                                        <p:tav tm="0">
                                          <p:val>
                                            <p:strVal val="#ppt_x"/>
                                          </p:val>
                                        </p:tav>
                                        <p:tav tm="100000">
                                          <p:val>
                                            <p:strVal val="#ppt_x"/>
                                          </p:val>
                                        </p:tav>
                                      </p:tavLst>
                                    </p:anim>
                                    <p:anim calcmode="lin" valueType="num">
                                      <p:cBhvr additive="base">
                                        <p:cTn id="10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35" grpId="0" animBg="1"/>
      <p:bldP spid="37" grpId="0" animBg="1"/>
      <p:bldP spid="39" grpId="0"/>
      <p:bldP spid="6" grpId="0"/>
      <p:bldP spid="8" grpId="0"/>
      <p:bldP spid="10" grpId="0"/>
      <p:bldP spid="30" grpId="0"/>
      <p:bldP spid="47" grpId="0"/>
      <p:bldP spid="48" grpId="0"/>
      <p:bldP spid="53" grpId="0"/>
      <p:bldP spid="3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Partition design</a:t>
            </a:r>
          </a:p>
        </p:txBody>
      </p:sp>
      <p:sp>
        <p:nvSpPr>
          <p:cNvPr id="4" name="Rectangle 3">
            <a:extLst>
              <a:ext uri="{FF2B5EF4-FFF2-40B4-BE49-F238E27FC236}">
                <a16:creationId xmlns:a16="http://schemas.microsoft.com/office/drawing/2014/main" id="{B186F71E-71E2-4937-98EF-4DD092D82B95}"/>
              </a:ext>
            </a:extLst>
          </p:cNvPr>
          <p:cNvSpPr/>
          <p:nvPr/>
        </p:nvSpPr>
        <p:spPr>
          <a:xfrm>
            <a:off x="5310544" y="1542081"/>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1</a:t>
            </a:r>
          </a:p>
        </p:txBody>
      </p:sp>
      <p:sp>
        <p:nvSpPr>
          <p:cNvPr id="5" name="Rectangle 4">
            <a:extLst>
              <a:ext uri="{FF2B5EF4-FFF2-40B4-BE49-F238E27FC236}">
                <a16:creationId xmlns:a16="http://schemas.microsoft.com/office/drawing/2014/main" id="{2C7D219E-CF05-43C6-B4F5-A3DD4C981587}"/>
              </a:ext>
            </a:extLst>
          </p:cNvPr>
          <p:cNvSpPr/>
          <p:nvPr/>
        </p:nvSpPr>
        <p:spPr>
          <a:xfrm>
            <a:off x="5310544" y="4087208"/>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2</a:t>
            </a:r>
          </a:p>
        </p:txBody>
      </p:sp>
      <p:cxnSp>
        <p:nvCxnSpPr>
          <p:cNvPr id="7" name="Straight Arrow Connector 6">
            <a:extLst>
              <a:ext uri="{FF2B5EF4-FFF2-40B4-BE49-F238E27FC236}">
                <a16:creationId xmlns:a16="http://schemas.microsoft.com/office/drawing/2014/main" id="{745BF3B5-EA79-4B61-9849-0C32E8EAB153}"/>
              </a:ext>
            </a:extLst>
          </p:cNvPr>
          <p:cNvCxnSpPr>
            <a:cxnSpLocks/>
          </p:cNvCxnSpPr>
          <p:nvPr/>
        </p:nvCxnSpPr>
        <p:spPr>
          <a:xfrm flipV="1">
            <a:off x="2667074" y="2650139"/>
            <a:ext cx="1652168" cy="10161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DB2F491-13B2-4A58-94AA-20107130F1EC}"/>
              </a:ext>
            </a:extLst>
          </p:cNvPr>
          <p:cNvCxnSpPr>
            <a:cxnSpLocks/>
          </p:cNvCxnSpPr>
          <p:nvPr/>
        </p:nvCxnSpPr>
        <p:spPr>
          <a:xfrm>
            <a:off x="2667075" y="3937727"/>
            <a:ext cx="1541041" cy="1156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AA7943D-090F-41DE-BF6F-ADDF6C5566E4}"/>
              </a:ext>
            </a:extLst>
          </p:cNvPr>
          <p:cNvSpPr txBox="1"/>
          <p:nvPr/>
        </p:nvSpPr>
        <p:spPr>
          <a:xfrm>
            <a:off x="593155" y="3609544"/>
            <a:ext cx="2068836" cy="400110"/>
          </a:xfrm>
          <a:prstGeom prst="rect">
            <a:avLst/>
          </a:prstGeom>
          <a:noFill/>
        </p:spPr>
        <p:txBody>
          <a:bodyPr wrap="none" rtlCol="0">
            <a:spAutoFit/>
          </a:bodyPr>
          <a:lstStyle/>
          <a:p>
            <a:r>
              <a:rPr lang="en-US" sz="2000">
                <a:solidFill>
                  <a:schemeClr val="bg1"/>
                </a:solidFill>
              </a:rPr>
              <a:t>F(</a:t>
            </a:r>
            <a:r>
              <a:rPr lang="en-US" err="1">
                <a:solidFill>
                  <a:schemeClr val="bg1"/>
                </a:solidFill>
              </a:rPr>
              <a:t>partkey</a:t>
            </a:r>
            <a:r>
              <a:rPr lang="en-US" sz="2000">
                <a:solidFill>
                  <a:schemeClr val="bg1"/>
                </a:solidFill>
              </a:rPr>
              <a:t>) = hash</a:t>
            </a:r>
          </a:p>
        </p:txBody>
      </p:sp>
      <p:cxnSp>
        <p:nvCxnSpPr>
          <p:cNvPr id="13" name="Straight Connector 12">
            <a:extLst>
              <a:ext uri="{FF2B5EF4-FFF2-40B4-BE49-F238E27FC236}">
                <a16:creationId xmlns:a16="http://schemas.microsoft.com/office/drawing/2014/main" id="{784464C0-2886-4A5F-B574-1FCFCA1AF6B6}"/>
              </a:ext>
            </a:extLst>
          </p:cNvPr>
          <p:cNvCxnSpPr>
            <a:cxnSpLocks/>
          </p:cNvCxnSpPr>
          <p:nvPr/>
        </p:nvCxnSpPr>
        <p:spPr>
          <a:xfrm>
            <a:off x="5039117" y="1730899"/>
            <a:ext cx="0" cy="20711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4256CB-97BF-4798-A356-ED6D384D5482}"/>
              </a:ext>
            </a:extLst>
          </p:cNvPr>
          <p:cNvCxnSpPr>
            <a:cxnSpLocks/>
          </p:cNvCxnSpPr>
          <p:nvPr/>
        </p:nvCxnSpPr>
        <p:spPr>
          <a:xfrm>
            <a:off x="5039117" y="4207188"/>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4E059C6-817F-44AF-94E9-402179D42074}"/>
              </a:ext>
            </a:extLst>
          </p:cNvPr>
          <p:cNvSpPr txBox="1"/>
          <p:nvPr/>
        </p:nvSpPr>
        <p:spPr>
          <a:xfrm>
            <a:off x="4578869" y="1726578"/>
            <a:ext cx="316112" cy="385490"/>
          </a:xfrm>
          <a:prstGeom prst="rect">
            <a:avLst/>
          </a:prstGeom>
          <a:noFill/>
        </p:spPr>
        <p:txBody>
          <a:bodyPr wrap="none" rtlCol="0">
            <a:spAutoFit/>
          </a:bodyPr>
          <a:lstStyle/>
          <a:p>
            <a:r>
              <a:rPr lang="en-US" sz="1905">
                <a:solidFill>
                  <a:schemeClr val="bg1"/>
                </a:solidFill>
              </a:rPr>
              <a:t>1</a:t>
            </a:r>
          </a:p>
        </p:txBody>
      </p:sp>
      <p:sp>
        <p:nvSpPr>
          <p:cNvPr id="23" name="TextBox 22">
            <a:extLst>
              <a:ext uri="{FF2B5EF4-FFF2-40B4-BE49-F238E27FC236}">
                <a16:creationId xmlns:a16="http://schemas.microsoft.com/office/drawing/2014/main" id="{13B5173C-E374-4A2B-B9F6-B0116A250CE3}"/>
              </a:ext>
            </a:extLst>
          </p:cNvPr>
          <p:cNvSpPr txBox="1"/>
          <p:nvPr/>
        </p:nvSpPr>
        <p:spPr>
          <a:xfrm>
            <a:off x="4448172" y="3546867"/>
            <a:ext cx="579005" cy="385490"/>
          </a:xfrm>
          <a:prstGeom prst="rect">
            <a:avLst/>
          </a:prstGeom>
          <a:noFill/>
        </p:spPr>
        <p:txBody>
          <a:bodyPr wrap="none" rtlCol="0">
            <a:spAutoFit/>
          </a:bodyPr>
          <a:lstStyle/>
          <a:p>
            <a:r>
              <a:rPr lang="en-US" sz="1905">
                <a:solidFill>
                  <a:schemeClr val="bg1"/>
                </a:solidFill>
              </a:rPr>
              <a:t>100</a:t>
            </a:r>
          </a:p>
        </p:txBody>
      </p:sp>
      <p:sp>
        <p:nvSpPr>
          <p:cNvPr id="25" name="TextBox 24">
            <a:extLst>
              <a:ext uri="{FF2B5EF4-FFF2-40B4-BE49-F238E27FC236}">
                <a16:creationId xmlns:a16="http://schemas.microsoft.com/office/drawing/2014/main" id="{6ADF2083-A49F-4C78-BDDE-9980126BECB7}"/>
              </a:ext>
            </a:extLst>
          </p:cNvPr>
          <p:cNvSpPr txBox="1"/>
          <p:nvPr/>
        </p:nvSpPr>
        <p:spPr>
          <a:xfrm>
            <a:off x="4455029" y="4011757"/>
            <a:ext cx="579005" cy="385490"/>
          </a:xfrm>
          <a:prstGeom prst="rect">
            <a:avLst/>
          </a:prstGeom>
          <a:noFill/>
        </p:spPr>
        <p:txBody>
          <a:bodyPr wrap="none" rtlCol="0">
            <a:spAutoFit/>
          </a:bodyPr>
          <a:lstStyle/>
          <a:p>
            <a:r>
              <a:rPr lang="en-US" sz="1905">
                <a:solidFill>
                  <a:schemeClr val="bg1"/>
                </a:solidFill>
              </a:rPr>
              <a:t>101</a:t>
            </a:r>
          </a:p>
        </p:txBody>
      </p:sp>
      <p:sp>
        <p:nvSpPr>
          <p:cNvPr id="27" name="TextBox 26">
            <a:extLst>
              <a:ext uri="{FF2B5EF4-FFF2-40B4-BE49-F238E27FC236}">
                <a16:creationId xmlns:a16="http://schemas.microsoft.com/office/drawing/2014/main" id="{6F4F1A92-3F47-49AB-B6EF-E91F89B48F77}"/>
              </a:ext>
            </a:extLst>
          </p:cNvPr>
          <p:cNvSpPr txBox="1"/>
          <p:nvPr/>
        </p:nvSpPr>
        <p:spPr>
          <a:xfrm>
            <a:off x="4448172" y="5959573"/>
            <a:ext cx="579005" cy="385490"/>
          </a:xfrm>
          <a:prstGeom prst="rect">
            <a:avLst/>
          </a:prstGeom>
          <a:noFill/>
        </p:spPr>
        <p:txBody>
          <a:bodyPr wrap="none" rtlCol="0">
            <a:spAutoFit/>
          </a:bodyPr>
          <a:lstStyle/>
          <a:p>
            <a:r>
              <a:rPr lang="en-US" sz="1905">
                <a:solidFill>
                  <a:schemeClr val="bg1"/>
                </a:solidFill>
              </a:rPr>
              <a:t>200</a:t>
            </a:r>
          </a:p>
        </p:txBody>
      </p:sp>
      <p:sp>
        <p:nvSpPr>
          <p:cNvPr id="31" name="Rectangle 30">
            <a:extLst>
              <a:ext uri="{FF2B5EF4-FFF2-40B4-BE49-F238E27FC236}">
                <a16:creationId xmlns:a16="http://schemas.microsoft.com/office/drawing/2014/main" id="{0614CA0D-0476-4426-B6B7-B3408B1F606D}"/>
              </a:ext>
            </a:extLst>
          </p:cNvPr>
          <p:cNvSpPr/>
          <p:nvPr/>
        </p:nvSpPr>
        <p:spPr>
          <a:xfrm>
            <a:off x="5369551" y="1631078"/>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1</a:t>
            </a:r>
          </a:p>
        </p:txBody>
      </p:sp>
      <p:sp>
        <p:nvSpPr>
          <p:cNvPr id="33" name="Rectangle 32">
            <a:extLst>
              <a:ext uri="{FF2B5EF4-FFF2-40B4-BE49-F238E27FC236}">
                <a16:creationId xmlns:a16="http://schemas.microsoft.com/office/drawing/2014/main" id="{0C4A0AD6-B873-4F13-B66C-3EAF49D8F247}"/>
              </a:ext>
            </a:extLst>
          </p:cNvPr>
          <p:cNvSpPr/>
          <p:nvPr/>
        </p:nvSpPr>
        <p:spPr>
          <a:xfrm>
            <a:off x="5369551" y="2087005"/>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dirty="0"/>
              <a:t>Logical p 2</a:t>
            </a:r>
          </a:p>
        </p:txBody>
      </p:sp>
      <p:sp>
        <p:nvSpPr>
          <p:cNvPr id="35" name="Rectangle 34">
            <a:extLst>
              <a:ext uri="{FF2B5EF4-FFF2-40B4-BE49-F238E27FC236}">
                <a16:creationId xmlns:a16="http://schemas.microsoft.com/office/drawing/2014/main" id="{30DCFC53-8BDD-49C6-9404-AF35AD3A270C}"/>
              </a:ext>
            </a:extLst>
          </p:cNvPr>
          <p:cNvSpPr/>
          <p:nvPr/>
        </p:nvSpPr>
        <p:spPr>
          <a:xfrm>
            <a:off x="5369551" y="421773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1</a:t>
            </a:r>
            <a:endParaRPr lang="en-US" sz="1693"/>
          </a:p>
        </p:txBody>
      </p:sp>
      <p:sp>
        <p:nvSpPr>
          <p:cNvPr id="37" name="Rectangle 36">
            <a:extLst>
              <a:ext uri="{FF2B5EF4-FFF2-40B4-BE49-F238E27FC236}">
                <a16:creationId xmlns:a16="http://schemas.microsoft.com/office/drawing/2014/main" id="{0C85E59F-3A05-4F4F-8697-FDD76069F486}"/>
              </a:ext>
            </a:extLst>
          </p:cNvPr>
          <p:cNvSpPr/>
          <p:nvPr/>
        </p:nvSpPr>
        <p:spPr>
          <a:xfrm>
            <a:off x="5369551" y="4673661"/>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2</a:t>
            </a:r>
            <a:endParaRPr lang="en-US" sz="1693"/>
          </a:p>
        </p:txBody>
      </p:sp>
      <p:sp>
        <p:nvSpPr>
          <p:cNvPr id="39" name="TextBox 38">
            <a:extLst>
              <a:ext uri="{FF2B5EF4-FFF2-40B4-BE49-F238E27FC236}">
                <a16:creationId xmlns:a16="http://schemas.microsoft.com/office/drawing/2014/main" id="{7F635E69-5A06-4342-B081-C20112FEF60F}"/>
              </a:ext>
            </a:extLst>
          </p:cNvPr>
          <p:cNvSpPr txBox="1"/>
          <p:nvPr/>
        </p:nvSpPr>
        <p:spPr>
          <a:xfrm>
            <a:off x="7374629" y="63643"/>
            <a:ext cx="3485890" cy="678647"/>
          </a:xfrm>
          <a:prstGeom prst="rect">
            <a:avLst/>
          </a:prstGeom>
          <a:noFill/>
        </p:spPr>
        <p:txBody>
          <a:bodyPr wrap="square" rtlCol="0">
            <a:spAutoFit/>
          </a:bodyPr>
          <a:lstStyle/>
          <a:p>
            <a:r>
              <a:rPr lang="en-US" sz="1905">
                <a:solidFill>
                  <a:schemeClr val="bg1"/>
                </a:solidFill>
              </a:rPr>
              <a:t>20 GB = Max </a:t>
            </a:r>
            <a:r>
              <a:rPr lang="en-US" sz="1905" b="1">
                <a:solidFill>
                  <a:schemeClr val="bg1"/>
                </a:solidFill>
              </a:rPr>
              <a:t>logical </a:t>
            </a:r>
            <a:r>
              <a:rPr lang="en-US" sz="1905">
                <a:solidFill>
                  <a:schemeClr val="bg1"/>
                </a:solidFill>
              </a:rPr>
              <a:t>partition size</a:t>
            </a:r>
          </a:p>
        </p:txBody>
      </p:sp>
      <p:sp>
        <p:nvSpPr>
          <p:cNvPr id="30" name="TextBox 29">
            <a:extLst>
              <a:ext uri="{FF2B5EF4-FFF2-40B4-BE49-F238E27FC236}">
                <a16:creationId xmlns:a16="http://schemas.microsoft.com/office/drawing/2014/main" id="{9D33D136-44AD-49F3-A0FF-38BF4478FDF4}"/>
              </a:ext>
            </a:extLst>
          </p:cNvPr>
          <p:cNvSpPr txBox="1"/>
          <p:nvPr/>
        </p:nvSpPr>
        <p:spPr>
          <a:xfrm>
            <a:off x="7374629" y="801712"/>
            <a:ext cx="4127092" cy="678647"/>
          </a:xfrm>
          <a:prstGeom prst="rect">
            <a:avLst/>
          </a:prstGeom>
          <a:noFill/>
        </p:spPr>
        <p:txBody>
          <a:bodyPr wrap="none" rtlCol="0">
            <a:spAutoFit/>
          </a:bodyPr>
          <a:lstStyle/>
          <a:p>
            <a:r>
              <a:rPr lang="en-US" sz="1905">
                <a:solidFill>
                  <a:schemeClr val="bg1"/>
                </a:solidFill>
              </a:rPr>
              <a:t>MAX: 10 K RUs per physical partition</a:t>
            </a:r>
          </a:p>
          <a:p>
            <a:r>
              <a:rPr lang="en-US" sz="1905">
                <a:solidFill>
                  <a:schemeClr val="bg1"/>
                </a:solidFill>
              </a:rPr>
              <a:t>MAX: 50 GB</a:t>
            </a:r>
          </a:p>
        </p:txBody>
      </p:sp>
      <p:sp>
        <p:nvSpPr>
          <p:cNvPr id="2" name="Rectangle 1">
            <a:extLst>
              <a:ext uri="{FF2B5EF4-FFF2-40B4-BE49-F238E27FC236}">
                <a16:creationId xmlns:a16="http://schemas.microsoft.com/office/drawing/2014/main" id="{937A5EF3-2ECF-43B7-A828-FD79DCBC54DB}"/>
              </a:ext>
            </a:extLst>
          </p:cNvPr>
          <p:cNvSpPr/>
          <p:nvPr/>
        </p:nvSpPr>
        <p:spPr>
          <a:xfrm>
            <a:off x="5369550" y="595170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200</a:t>
            </a:r>
            <a:endParaRPr lang="en-US" sz="1693"/>
          </a:p>
        </p:txBody>
      </p:sp>
      <p:sp>
        <p:nvSpPr>
          <p:cNvPr id="3" name="Rectangle 2">
            <a:extLst>
              <a:ext uri="{FF2B5EF4-FFF2-40B4-BE49-F238E27FC236}">
                <a16:creationId xmlns:a16="http://schemas.microsoft.com/office/drawing/2014/main" id="{C2D1FB06-422F-4AEE-BEB3-AC379829F57F}"/>
              </a:ext>
            </a:extLst>
          </p:cNvPr>
          <p:cNvSpPr/>
          <p:nvPr/>
        </p:nvSpPr>
        <p:spPr>
          <a:xfrm>
            <a:off x="5369549" y="549435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99</a:t>
            </a:r>
            <a:endParaRPr lang="en-US" sz="1693"/>
          </a:p>
        </p:txBody>
      </p:sp>
      <p:sp>
        <p:nvSpPr>
          <p:cNvPr id="12" name="TextBox 11">
            <a:extLst>
              <a:ext uri="{FF2B5EF4-FFF2-40B4-BE49-F238E27FC236}">
                <a16:creationId xmlns:a16="http://schemas.microsoft.com/office/drawing/2014/main" id="{74B2C9C0-DC8D-464B-8413-E47B32BB3086}"/>
              </a:ext>
            </a:extLst>
          </p:cNvPr>
          <p:cNvSpPr txBox="1"/>
          <p:nvPr/>
        </p:nvSpPr>
        <p:spPr>
          <a:xfrm>
            <a:off x="6973139" y="5494354"/>
            <a:ext cx="4671407" cy="385490"/>
          </a:xfrm>
          <a:prstGeom prst="rect">
            <a:avLst/>
          </a:prstGeom>
          <a:noFill/>
        </p:spPr>
        <p:txBody>
          <a:bodyPr wrap="none" rtlCol="0">
            <a:spAutoFit/>
          </a:bodyPr>
          <a:lstStyle/>
          <a:p>
            <a:r>
              <a:rPr lang="en-US" sz="1905">
                <a:solidFill>
                  <a:schemeClr val="bg1"/>
                </a:solidFill>
              </a:rPr>
              <a:t>Partition 2 is getting full =&gt; Partition split</a:t>
            </a:r>
          </a:p>
        </p:txBody>
      </p:sp>
      <p:sp>
        <p:nvSpPr>
          <p:cNvPr id="6" name="Rectangle 5">
            <a:extLst>
              <a:ext uri="{FF2B5EF4-FFF2-40B4-BE49-F238E27FC236}">
                <a16:creationId xmlns:a16="http://schemas.microsoft.com/office/drawing/2014/main" id="{AEB1A176-4F22-0759-8AD6-11F74C66FE6C}"/>
              </a:ext>
            </a:extLst>
          </p:cNvPr>
          <p:cNvSpPr/>
          <p:nvPr/>
        </p:nvSpPr>
        <p:spPr>
          <a:xfrm>
            <a:off x="5387251" y="316996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t>Logical 22</a:t>
            </a:r>
          </a:p>
        </p:txBody>
      </p:sp>
    </p:spTree>
    <p:extLst>
      <p:ext uri="{BB962C8B-B14F-4D97-AF65-F5344CB8AC3E}">
        <p14:creationId xmlns:p14="http://schemas.microsoft.com/office/powerpoint/2010/main" val="383270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4" presetClass="entr" presetSubtype="1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randombar(horizontal)">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Partition design</a:t>
            </a:r>
          </a:p>
        </p:txBody>
      </p:sp>
      <p:sp>
        <p:nvSpPr>
          <p:cNvPr id="4" name="Rectangle 3">
            <a:extLst>
              <a:ext uri="{FF2B5EF4-FFF2-40B4-BE49-F238E27FC236}">
                <a16:creationId xmlns:a16="http://schemas.microsoft.com/office/drawing/2014/main" id="{B186F71E-71E2-4937-98EF-4DD092D82B95}"/>
              </a:ext>
            </a:extLst>
          </p:cNvPr>
          <p:cNvSpPr/>
          <p:nvPr/>
        </p:nvSpPr>
        <p:spPr>
          <a:xfrm>
            <a:off x="5310544" y="1542081"/>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1</a:t>
            </a:r>
          </a:p>
        </p:txBody>
      </p:sp>
      <p:sp>
        <p:nvSpPr>
          <p:cNvPr id="5" name="Rectangle 4">
            <a:extLst>
              <a:ext uri="{FF2B5EF4-FFF2-40B4-BE49-F238E27FC236}">
                <a16:creationId xmlns:a16="http://schemas.microsoft.com/office/drawing/2014/main" id="{2C7D219E-CF05-43C6-B4F5-A3DD4C981587}"/>
              </a:ext>
            </a:extLst>
          </p:cNvPr>
          <p:cNvSpPr/>
          <p:nvPr/>
        </p:nvSpPr>
        <p:spPr>
          <a:xfrm>
            <a:off x="5310544" y="4087208"/>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2</a:t>
            </a:r>
          </a:p>
        </p:txBody>
      </p:sp>
      <p:cxnSp>
        <p:nvCxnSpPr>
          <p:cNvPr id="7" name="Straight Arrow Connector 6">
            <a:extLst>
              <a:ext uri="{FF2B5EF4-FFF2-40B4-BE49-F238E27FC236}">
                <a16:creationId xmlns:a16="http://schemas.microsoft.com/office/drawing/2014/main" id="{745BF3B5-EA79-4B61-9849-0C32E8EAB153}"/>
              </a:ext>
            </a:extLst>
          </p:cNvPr>
          <p:cNvCxnSpPr>
            <a:cxnSpLocks/>
          </p:cNvCxnSpPr>
          <p:nvPr/>
        </p:nvCxnSpPr>
        <p:spPr>
          <a:xfrm flipV="1">
            <a:off x="2667074" y="2650139"/>
            <a:ext cx="1652168" cy="10161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DB2F491-13B2-4A58-94AA-20107130F1EC}"/>
              </a:ext>
            </a:extLst>
          </p:cNvPr>
          <p:cNvCxnSpPr>
            <a:cxnSpLocks/>
          </p:cNvCxnSpPr>
          <p:nvPr/>
        </p:nvCxnSpPr>
        <p:spPr>
          <a:xfrm>
            <a:off x="2667075" y="3937727"/>
            <a:ext cx="1541041" cy="1156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AA7943D-090F-41DE-BF6F-ADDF6C5566E4}"/>
              </a:ext>
            </a:extLst>
          </p:cNvPr>
          <p:cNvSpPr txBox="1"/>
          <p:nvPr/>
        </p:nvSpPr>
        <p:spPr>
          <a:xfrm>
            <a:off x="593155" y="3609544"/>
            <a:ext cx="2068836" cy="400110"/>
          </a:xfrm>
          <a:prstGeom prst="rect">
            <a:avLst/>
          </a:prstGeom>
          <a:noFill/>
        </p:spPr>
        <p:txBody>
          <a:bodyPr wrap="none" rtlCol="0">
            <a:spAutoFit/>
          </a:bodyPr>
          <a:lstStyle/>
          <a:p>
            <a:r>
              <a:rPr lang="en-US" sz="2000">
                <a:solidFill>
                  <a:schemeClr val="bg1"/>
                </a:solidFill>
              </a:rPr>
              <a:t>F(</a:t>
            </a:r>
            <a:r>
              <a:rPr lang="en-US" err="1">
                <a:solidFill>
                  <a:schemeClr val="bg1"/>
                </a:solidFill>
              </a:rPr>
              <a:t>partkey</a:t>
            </a:r>
            <a:r>
              <a:rPr lang="en-US" sz="2000">
                <a:solidFill>
                  <a:schemeClr val="bg1"/>
                </a:solidFill>
              </a:rPr>
              <a:t>) = hash</a:t>
            </a:r>
          </a:p>
        </p:txBody>
      </p:sp>
      <p:cxnSp>
        <p:nvCxnSpPr>
          <p:cNvPr id="13" name="Straight Connector 12">
            <a:extLst>
              <a:ext uri="{FF2B5EF4-FFF2-40B4-BE49-F238E27FC236}">
                <a16:creationId xmlns:a16="http://schemas.microsoft.com/office/drawing/2014/main" id="{784464C0-2886-4A5F-B574-1FCFCA1AF6B6}"/>
              </a:ext>
            </a:extLst>
          </p:cNvPr>
          <p:cNvCxnSpPr>
            <a:cxnSpLocks/>
          </p:cNvCxnSpPr>
          <p:nvPr/>
        </p:nvCxnSpPr>
        <p:spPr>
          <a:xfrm>
            <a:off x="5039117" y="1730899"/>
            <a:ext cx="0" cy="207111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4256CB-97BF-4798-A356-ED6D384D5482}"/>
              </a:ext>
            </a:extLst>
          </p:cNvPr>
          <p:cNvCxnSpPr>
            <a:cxnSpLocks/>
          </p:cNvCxnSpPr>
          <p:nvPr/>
        </p:nvCxnSpPr>
        <p:spPr>
          <a:xfrm>
            <a:off x="5039117" y="4207188"/>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4E059C6-817F-44AF-94E9-402179D42074}"/>
              </a:ext>
            </a:extLst>
          </p:cNvPr>
          <p:cNvSpPr txBox="1"/>
          <p:nvPr/>
        </p:nvSpPr>
        <p:spPr>
          <a:xfrm>
            <a:off x="4578869" y="1726578"/>
            <a:ext cx="316112" cy="385490"/>
          </a:xfrm>
          <a:prstGeom prst="rect">
            <a:avLst/>
          </a:prstGeom>
          <a:noFill/>
        </p:spPr>
        <p:txBody>
          <a:bodyPr wrap="none" rtlCol="0">
            <a:spAutoFit/>
          </a:bodyPr>
          <a:lstStyle/>
          <a:p>
            <a:r>
              <a:rPr lang="en-US" sz="1905">
                <a:solidFill>
                  <a:schemeClr val="bg1"/>
                </a:solidFill>
              </a:rPr>
              <a:t>1</a:t>
            </a:r>
          </a:p>
        </p:txBody>
      </p:sp>
      <p:sp>
        <p:nvSpPr>
          <p:cNvPr id="23" name="TextBox 22">
            <a:extLst>
              <a:ext uri="{FF2B5EF4-FFF2-40B4-BE49-F238E27FC236}">
                <a16:creationId xmlns:a16="http://schemas.microsoft.com/office/drawing/2014/main" id="{13B5173C-E374-4A2B-B9F6-B0116A250CE3}"/>
              </a:ext>
            </a:extLst>
          </p:cNvPr>
          <p:cNvSpPr txBox="1"/>
          <p:nvPr/>
        </p:nvSpPr>
        <p:spPr>
          <a:xfrm>
            <a:off x="4448172" y="3546867"/>
            <a:ext cx="579005" cy="385490"/>
          </a:xfrm>
          <a:prstGeom prst="rect">
            <a:avLst/>
          </a:prstGeom>
          <a:noFill/>
        </p:spPr>
        <p:txBody>
          <a:bodyPr wrap="none" rtlCol="0">
            <a:spAutoFit/>
          </a:bodyPr>
          <a:lstStyle/>
          <a:p>
            <a:r>
              <a:rPr lang="en-US" sz="1905">
                <a:solidFill>
                  <a:schemeClr val="bg1"/>
                </a:solidFill>
              </a:rPr>
              <a:t>100</a:t>
            </a:r>
          </a:p>
        </p:txBody>
      </p:sp>
      <p:sp>
        <p:nvSpPr>
          <p:cNvPr id="25" name="TextBox 24">
            <a:extLst>
              <a:ext uri="{FF2B5EF4-FFF2-40B4-BE49-F238E27FC236}">
                <a16:creationId xmlns:a16="http://schemas.microsoft.com/office/drawing/2014/main" id="{6ADF2083-A49F-4C78-BDDE-9980126BECB7}"/>
              </a:ext>
            </a:extLst>
          </p:cNvPr>
          <p:cNvSpPr txBox="1"/>
          <p:nvPr/>
        </p:nvSpPr>
        <p:spPr>
          <a:xfrm>
            <a:off x="4455029" y="4011757"/>
            <a:ext cx="579005" cy="385490"/>
          </a:xfrm>
          <a:prstGeom prst="rect">
            <a:avLst/>
          </a:prstGeom>
          <a:noFill/>
        </p:spPr>
        <p:txBody>
          <a:bodyPr wrap="none" rtlCol="0">
            <a:spAutoFit/>
          </a:bodyPr>
          <a:lstStyle/>
          <a:p>
            <a:r>
              <a:rPr lang="en-US" sz="1905">
                <a:solidFill>
                  <a:schemeClr val="bg1"/>
                </a:solidFill>
              </a:rPr>
              <a:t>101</a:t>
            </a:r>
          </a:p>
        </p:txBody>
      </p:sp>
      <p:sp>
        <p:nvSpPr>
          <p:cNvPr id="27" name="TextBox 26">
            <a:extLst>
              <a:ext uri="{FF2B5EF4-FFF2-40B4-BE49-F238E27FC236}">
                <a16:creationId xmlns:a16="http://schemas.microsoft.com/office/drawing/2014/main" id="{6F4F1A92-3F47-49AB-B6EF-E91F89B48F77}"/>
              </a:ext>
            </a:extLst>
          </p:cNvPr>
          <p:cNvSpPr txBox="1"/>
          <p:nvPr/>
        </p:nvSpPr>
        <p:spPr>
          <a:xfrm>
            <a:off x="4448172" y="5959573"/>
            <a:ext cx="579005" cy="385490"/>
          </a:xfrm>
          <a:prstGeom prst="rect">
            <a:avLst/>
          </a:prstGeom>
          <a:noFill/>
        </p:spPr>
        <p:txBody>
          <a:bodyPr wrap="none" rtlCol="0">
            <a:spAutoFit/>
          </a:bodyPr>
          <a:lstStyle/>
          <a:p>
            <a:r>
              <a:rPr lang="en-US" sz="1905">
                <a:solidFill>
                  <a:schemeClr val="bg1"/>
                </a:solidFill>
              </a:rPr>
              <a:t>200</a:t>
            </a:r>
          </a:p>
        </p:txBody>
      </p:sp>
      <p:sp>
        <p:nvSpPr>
          <p:cNvPr id="31" name="Rectangle 30">
            <a:extLst>
              <a:ext uri="{FF2B5EF4-FFF2-40B4-BE49-F238E27FC236}">
                <a16:creationId xmlns:a16="http://schemas.microsoft.com/office/drawing/2014/main" id="{0614CA0D-0476-4426-B6B7-B3408B1F606D}"/>
              </a:ext>
            </a:extLst>
          </p:cNvPr>
          <p:cNvSpPr/>
          <p:nvPr/>
        </p:nvSpPr>
        <p:spPr>
          <a:xfrm>
            <a:off x="5369551" y="1631078"/>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1</a:t>
            </a:r>
          </a:p>
        </p:txBody>
      </p:sp>
      <p:sp>
        <p:nvSpPr>
          <p:cNvPr id="33" name="Rectangle 32">
            <a:extLst>
              <a:ext uri="{FF2B5EF4-FFF2-40B4-BE49-F238E27FC236}">
                <a16:creationId xmlns:a16="http://schemas.microsoft.com/office/drawing/2014/main" id="{0C4A0AD6-B873-4F13-B66C-3EAF49D8F247}"/>
              </a:ext>
            </a:extLst>
          </p:cNvPr>
          <p:cNvSpPr/>
          <p:nvPr/>
        </p:nvSpPr>
        <p:spPr>
          <a:xfrm>
            <a:off x="5369551" y="2087005"/>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2</a:t>
            </a:r>
          </a:p>
        </p:txBody>
      </p:sp>
      <p:sp>
        <p:nvSpPr>
          <p:cNvPr id="35" name="Rectangle 34">
            <a:extLst>
              <a:ext uri="{FF2B5EF4-FFF2-40B4-BE49-F238E27FC236}">
                <a16:creationId xmlns:a16="http://schemas.microsoft.com/office/drawing/2014/main" id="{30DCFC53-8BDD-49C6-9404-AF35AD3A270C}"/>
              </a:ext>
            </a:extLst>
          </p:cNvPr>
          <p:cNvSpPr/>
          <p:nvPr/>
        </p:nvSpPr>
        <p:spPr>
          <a:xfrm>
            <a:off x="5369551" y="421773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1</a:t>
            </a:r>
            <a:endParaRPr lang="en-US" sz="1693"/>
          </a:p>
        </p:txBody>
      </p:sp>
      <p:sp>
        <p:nvSpPr>
          <p:cNvPr id="37" name="Rectangle 36">
            <a:extLst>
              <a:ext uri="{FF2B5EF4-FFF2-40B4-BE49-F238E27FC236}">
                <a16:creationId xmlns:a16="http://schemas.microsoft.com/office/drawing/2014/main" id="{0C85E59F-3A05-4F4F-8697-FDD76069F486}"/>
              </a:ext>
            </a:extLst>
          </p:cNvPr>
          <p:cNvSpPr/>
          <p:nvPr/>
        </p:nvSpPr>
        <p:spPr>
          <a:xfrm>
            <a:off x="5369551" y="4673661"/>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2</a:t>
            </a:r>
            <a:endParaRPr lang="en-US" sz="1693"/>
          </a:p>
        </p:txBody>
      </p:sp>
      <p:sp>
        <p:nvSpPr>
          <p:cNvPr id="39" name="TextBox 38">
            <a:extLst>
              <a:ext uri="{FF2B5EF4-FFF2-40B4-BE49-F238E27FC236}">
                <a16:creationId xmlns:a16="http://schemas.microsoft.com/office/drawing/2014/main" id="{7F635E69-5A06-4342-B081-C20112FEF60F}"/>
              </a:ext>
            </a:extLst>
          </p:cNvPr>
          <p:cNvSpPr txBox="1"/>
          <p:nvPr/>
        </p:nvSpPr>
        <p:spPr>
          <a:xfrm>
            <a:off x="7374629" y="63643"/>
            <a:ext cx="3485890" cy="678647"/>
          </a:xfrm>
          <a:prstGeom prst="rect">
            <a:avLst/>
          </a:prstGeom>
          <a:noFill/>
        </p:spPr>
        <p:txBody>
          <a:bodyPr wrap="square" rtlCol="0">
            <a:spAutoFit/>
          </a:bodyPr>
          <a:lstStyle/>
          <a:p>
            <a:r>
              <a:rPr lang="en-US" sz="1905">
                <a:solidFill>
                  <a:schemeClr val="bg1"/>
                </a:solidFill>
              </a:rPr>
              <a:t>20 GB = Max </a:t>
            </a:r>
            <a:r>
              <a:rPr lang="en-US" sz="1905" b="1">
                <a:solidFill>
                  <a:schemeClr val="bg1"/>
                </a:solidFill>
              </a:rPr>
              <a:t>logical </a:t>
            </a:r>
            <a:r>
              <a:rPr lang="en-US" sz="1905">
                <a:solidFill>
                  <a:schemeClr val="bg1"/>
                </a:solidFill>
              </a:rPr>
              <a:t>partition size</a:t>
            </a:r>
          </a:p>
        </p:txBody>
      </p:sp>
      <p:sp>
        <p:nvSpPr>
          <p:cNvPr id="30" name="TextBox 29">
            <a:extLst>
              <a:ext uri="{FF2B5EF4-FFF2-40B4-BE49-F238E27FC236}">
                <a16:creationId xmlns:a16="http://schemas.microsoft.com/office/drawing/2014/main" id="{9D33D136-44AD-49F3-A0FF-38BF4478FDF4}"/>
              </a:ext>
            </a:extLst>
          </p:cNvPr>
          <p:cNvSpPr txBox="1"/>
          <p:nvPr/>
        </p:nvSpPr>
        <p:spPr>
          <a:xfrm>
            <a:off x="7374629" y="801712"/>
            <a:ext cx="4127092" cy="678647"/>
          </a:xfrm>
          <a:prstGeom prst="rect">
            <a:avLst/>
          </a:prstGeom>
          <a:noFill/>
        </p:spPr>
        <p:txBody>
          <a:bodyPr wrap="none" rtlCol="0">
            <a:spAutoFit/>
          </a:bodyPr>
          <a:lstStyle/>
          <a:p>
            <a:r>
              <a:rPr lang="en-US" sz="1905">
                <a:solidFill>
                  <a:schemeClr val="bg1"/>
                </a:solidFill>
              </a:rPr>
              <a:t>MAX: 10 K RUs per physical partition</a:t>
            </a:r>
          </a:p>
          <a:p>
            <a:r>
              <a:rPr lang="en-US" sz="1905">
                <a:solidFill>
                  <a:schemeClr val="bg1"/>
                </a:solidFill>
              </a:rPr>
              <a:t>MAX: 50 GB</a:t>
            </a:r>
          </a:p>
        </p:txBody>
      </p:sp>
      <p:sp>
        <p:nvSpPr>
          <p:cNvPr id="2" name="Rectangle 1">
            <a:extLst>
              <a:ext uri="{FF2B5EF4-FFF2-40B4-BE49-F238E27FC236}">
                <a16:creationId xmlns:a16="http://schemas.microsoft.com/office/drawing/2014/main" id="{937A5EF3-2ECF-43B7-A828-FD79DCBC54DB}"/>
              </a:ext>
            </a:extLst>
          </p:cNvPr>
          <p:cNvSpPr/>
          <p:nvPr/>
        </p:nvSpPr>
        <p:spPr>
          <a:xfrm>
            <a:off x="5369550" y="595170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200</a:t>
            </a:r>
            <a:endParaRPr lang="en-US" sz="1693"/>
          </a:p>
        </p:txBody>
      </p:sp>
      <p:sp>
        <p:nvSpPr>
          <p:cNvPr id="3" name="Rectangle 2">
            <a:extLst>
              <a:ext uri="{FF2B5EF4-FFF2-40B4-BE49-F238E27FC236}">
                <a16:creationId xmlns:a16="http://schemas.microsoft.com/office/drawing/2014/main" id="{C2D1FB06-422F-4AEE-BEB3-AC379829F57F}"/>
              </a:ext>
            </a:extLst>
          </p:cNvPr>
          <p:cNvSpPr/>
          <p:nvPr/>
        </p:nvSpPr>
        <p:spPr>
          <a:xfrm>
            <a:off x="5369549" y="549435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99</a:t>
            </a:r>
            <a:endParaRPr lang="en-US" sz="1693"/>
          </a:p>
        </p:txBody>
      </p:sp>
      <p:sp>
        <p:nvSpPr>
          <p:cNvPr id="24" name="Rectangle 23">
            <a:extLst>
              <a:ext uri="{FF2B5EF4-FFF2-40B4-BE49-F238E27FC236}">
                <a16:creationId xmlns:a16="http://schemas.microsoft.com/office/drawing/2014/main" id="{0A6904B5-F3F6-48FB-9749-F41C00C34F42}"/>
              </a:ext>
            </a:extLst>
          </p:cNvPr>
          <p:cNvSpPr/>
          <p:nvPr/>
        </p:nvSpPr>
        <p:spPr>
          <a:xfrm>
            <a:off x="8757154" y="1726578"/>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3</a:t>
            </a:r>
          </a:p>
        </p:txBody>
      </p:sp>
      <p:sp>
        <p:nvSpPr>
          <p:cNvPr id="26" name="Rectangle 25">
            <a:extLst>
              <a:ext uri="{FF2B5EF4-FFF2-40B4-BE49-F238E27FC236}">
                <a16:creationId xmlns:a16="http://schemas.microsoft.com/office/drawing/2014/main" id="{E6F3F4F3-49EC-4355-8050-32FE7DEBC712}"/>
              </a:ext>
            </a:extLst>
          </p:cNvPr>
          <p:cNvSpPr/>
          <p:nvPr/>
        </p:nvSpPr>
        <p:spPr>
          <a:xfrm>
            <a:off x="8816161" y="1857105"/>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1</a:t>
            </a:r>
            <a:endParaRPr lang="en-US" sz="1905"/>
          </a:p>
        </p:txBody>
      </p:sp>
      <p:sp>
        <p:nvSpPr>
          <p:cNvPr id="28" name="Rectangle 27">
            <a:extLst>
              <a:ext uri="{FF2B5EF4-FFF2-40B4-BE49-F238E27FC236}">
                <a16:creationId xmlns:a16="http://schemas.microsoft.com/office/drawing/2014/main" id="{E2E2D3E8-C3D5-431D-8AC3-C8DC17CE4498}"/>
              </a:ext>
            </a:extLst>
          </p:cNvPr>
          <p:cNvSpPr/>
          <p:nvPr/>
        </p:nvSpPr>
        <p:spPr>
          <a:xfrm>
            <a:off x="8766007" y="4305855"/>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4</a:t>
            </a:r>
          </a:p>
        </p:txBody>
      </p:sp>
      <p:sp>
        <p:nvSpPr>
          <p:cNvPr id="29" name="Rectangle 28">
            <a:extLst>
              <a:ext uri="{FF2B5EF4-FFF2-40B4-BE49-F238E27FC236}">
                <a16:creationId xmlns:a16="http://schemas.microsoft.com/office/drawing/2014/main" id="{6E758591-BF96-4322-9D9C-DC7BAED72F03}"/>
              </a:ext>
            </a:extLst>
          </p:cNvPr>
          <p:cNvSpPr/>
          <p:nvPr/>
        </p:nvSpPr>
        <p:spPr>
          <a:xfrm>
            <a:off x="8825014" y="4436382"/>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51</a:t>
            </a:r>
            <a:endParaRPr lang="en-US" sz="1693"/>
          </a:p>
        </p:txBody>
      </p:sp>
      <p:sp>
        <p:nvSpPr>
          <p:cNvPr id="32" name="Rectangle 31">
            <a:extLst>
              <a:ext uri="{FF2B5EF4-FFF2-40B4-BE49-F238E27FC236}">
                <a16:creationId xmlns:a16="http://schemas.microsoft.com/office/drawing/2014/main" id="{6EAA1488-8C77-425D-93EE-94E63CE3676D}"/>
              </a:ext>
            </a:extLst>
          </p:cNvPr>
          <p:cNvSpPr/>
          <p:nvPr/>
        </p:nvSpPr>
        <p:spPr>
          <a:xfrm>
            <a:off x="8825014" y="573847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200</a:t>
            </a:r>
            <a:endParaRPr lang="en-US" sz="1693"/>
          </a:p>
        </p:txBody>
      </p:sp>
      <p:cxnSp>
        <p:nvCxnSpPr>
          <p:cNvPr id="34" name="Straight Arrow Connector 33">
            <a:extLst>
              <a:ext uri="{FF2B5EF4-FFF2-40B4-BE49-F238E27FC236}">
                <a16:creationId xmlns:a16="http://schemas.microsoft.com/office/drawing/2014/main" id="{6DAA25C3-FB6F-4072-BC3A-C53832C79350}"/>
              </a:ext>
            </a:extLst>
          </p:cNvPr>
          <p:cNvCxnSpPr>
            <a:cxnSpLocks/>
          </p:cNvCxnSpPr>
          <p:nvPr/>
        </p:nvCxnSpPr>
        <p:spPr>
          <a:xfrm flipV="1">
            <a:off x="6819395" y="3699372"/>
            <a:ext cx="1652168" cy="10161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82318F8-9F45-4D7C-98E5-243D32D8EA57}"/>
              </a:ext>
            </a:extLst>
          </p:cNvPr>
          <p:cNvCxnSpPr>
            <a:cxnSpLocks/>
          </p:cNvCxnSpPr>
          <p:nvPr/>
        </p:nvCxnSpPr>
        <p:spPr>
          <a:xfrm>
            <a:off x="6813358" y="4969286"/>
            <a:ext cx="1541041" cy="11565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CAB6C157-7012-4A9F-B62E-B04E18B04559}"/>
              </a:ext>
            </a:extLst>
          </p:cNvPr>
          <p:cNvSpPr/>
          <p:nvPr/>
        </p:nvSpPr>
        <p:spPr>
          <a:xfrm>
            <a:off x="8816160" y="313429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50</a:t>
            </a:r>
            <a:endParaRPr lang="en-US" sz="1693"/>
          </a:p>
        </p:txBody>
      </p:sp>
      <p:sp>
        <p:nvSpPr>
          <p:cNvPr id="6" name="Rectangle 5">
            <a:extLst>
              <a:ext uri="{FF2B5EF4-FFF2-40B4-BE49-F238E27FC236}">
                <a16:creationId xmlns:a16="http://schemas.microsoft.com/office/drawing/2014/main" id="{BB99120F-114E-78AF-04FB-92FC77F54A23}"/>
              </a:ext>
            </a:extLst>
          </p:cNvPr>
          <p:cNvSpPr/>
          <p:nvPr/>
        </p:nvSpPr>
        <p:spPr>
          <a:xfrm>
            <a:off x="5387251" y="316996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t>Logical 22</a:t>
            </a:r>
          </a:p>
        </p:txBody>
      </p:sp>
    </p:spTree>
    <p:extLst>
      <p:ext uri="{BB962C8B-B14F-4D97-AF65-F5344CB8AC3E}">
        <p14:creationId xmlns:p14="http://schemas.microsoft.com/office/powerpoint/2010/main" val="323674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inVertical)">
                                      <p:cBhvr>
                                        <p:cTn id="7" dur="500"/>
                                        <p:tgtEl>
                                          <p:spTgt spid="2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arn(inVertical)">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wipe(down)">
                                      <p:cBhvr>
                                        <p:cTn id="15" dur="500"/>
                                        <p:tgtEl>
                                          <p:spTgt spid="26"/>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wipe(down)">
                                      <p:cBhvr>
                                        <p:cTn id="18" dur="500"/>
                                        <p:tgtEl>
                                          <p:spTgt spid="38"/>
                                        </p:tgtEl>
                                      </p:cBhvr>
                                    </p:animEffect>
                                  </p:childTnLst>
                                </p:cTn>
                              </p:par>
                              <p:par>
                                <p:cTn id="19" presetID="22" presetClass="entr" presetSubtype="4"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ipe(down)">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36"/>
                                        </p:tgtEl>
                                        <p:attrNameLst>
                                          <p:attrName>style.visibility</p:attrName>
                                        </p:attrNameLst>
                                      </p:cBhvr>
                                      <p:to>
                                        <p:strVal val="visible"/>
                                      </p:to>
                                    </p:set>
                                    <p:animEffect transition="in" filter="wipe(down)">
                                      <p:cBhvr>
                                        <p:cTn id="26" dur="500"/>
                                        <p:tgtEl>
                                          <p:spTgt spid="36"/>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wipe(down)">
                                      <p:cBhvr>
                                        <p:cTn id="29" dur="500"/>
                                        <p:tgtEl>
                                          <p:spTgt spid="29"/>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down)">
                                      <p:cBhvr>
                                        <p:cTn id="3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8" grpId="0" animBg="1"/>
      <p:bldP spid="29" grpId="0" animBg="1"/>
      <p:bldP spid="32" grpId="0" animBg="1"/>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a:extLst>
              <a:ext uri="{FF2B5EF4-FFF2-40B4-BE49-F238E27FC236}">
                <a16:creationId xmlns:a16="http://schemas.microsoft.com/office/drawing/2014/main" id="{6DAA25C3-FB6F-4072-BC3A-C53832C79350}"/>
              </a:ext>
            </a:extLst>
          </p:cNvPr>
          <p:cNvCxnSpPr>
            <a:cxnSpLocks/>
          </p:cNvCxnSpPr>
          <p:nvPr/>
        </p:nvCxnSpPr>
        <p:spPr>
          <a:xfrm flipV="1">
            <a:off x="2806127" y="3091683"/>
            <a:ext cx="5707628" cy="7179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itle 17"/>
          <p:cNvSpPr>
            <a:spLocks noGrp="1"/>
          </p:cNvSpPr>
          <p:nvPr>
            <p:ph type="title"/>
          </p:nvPr>
        </p:nvSpPr>
        <p:spPr/>
        <p:txBody>
          <a:bodyPr/>
          <a:lstStyle/>
          <a:p>
            <a:r>
              <a:rPr lang="en-US"/>
              <a:t>Partition design</a:t>
            </a:r>
          </a:p>
        </p:txBody>
      </p:sp>
      <p:sp>
        <p:nvSpPr>
          <p:cNvPr id="4" name="Rectangle 3">
            <a:extLst>
              <a:ext uri="{FF2B5EF4-FFF2-40B4-BE49-F238E27FC236}">
                <a16:creationId xmlns:a16="http://schemas.microsoft.com/office/drawing/2014/main" id="{B186F71E-71E2-4937-98EF-4DD092D82B95}"/>
              </a:ext>
            </a:extLst>
          </p:cNvPr>
          <p:cNvSpPr/>
          <p:nvPr/>
        </p:nvSpPr>
        <p:spPr>
          <a:xfrm>
            <a:off x="5016921" y="625884"/>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1</a:t>
            </a:r>
          </a:p>
        </p:txBody>
      </p:sp>
      <p:cxnSp>
        <p:nvCxnSpPr>
          <p:cNvPr id="7" name="Straight Arrow Connector 6">
            <a:extLst>
              <a:ext uri="{FF2B5EF4-FFF2-40B4-BE49-F238E27FC236}">
                <a16:creationId xmlns:a16="http://schemas.microsoft.com/office/drawing/2014/main" id="{745BF3B5-EA79-4B61-9849-0C32E8EAB153}"/>
              </a:ext>
            </a:extLst>
          </p:cNvPr>
          <p:cNvCxnSpPr>
            <a:cxnSpLocks/>
          </p:cNvCxnSpPr>
          <p:nvPr/>
        </p:nvCxnSpPr>
        <p:spPr>
          <a:xfrm flipV="1">
            <a:off x="2667074" y="1864123"/>
            <a:ext cx="1875264" cy="18021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AA7943D-090F-41DE-BF6F-ADDF6C5566E4}"/>
              </a:ext>
            </a:extLst>
          </p:cNvPr>
          <p:cNvSpPr txBox="1"/>
          <p:nvPr/>
        </p:nvSpPr>
        <p:spPr>
          <a:xfrm>
            <a:off x="593155" y="3609544"/>
            <a:ext cx="2068836" cy="400110"/>
          </a:xfrm>
          <a:prstGeom prst="rect">
            <a:avLst/>
          </a:prstGeom>
          <a:noFill/>
        </p:spPr>
        <p:txBody>
          <a:bodyPr wrap="none" rtlCol="0">
            <a:spAutoFit/>
          </a:bodyPr>
          <a:lstStyle/>
          <a:p>
            <a:r>
              <a:rPr lang="en-US" sz="2000">
                <a:solidFill>
                  <a:schemeClr val="bg1"/>
                </a:solidFill>
              </a:rPr>
              <a:t>F(</a:t>
            </a:r>
            <a:r>
              <a:rPr lang="en-US" err="1">
                <a:solidFill>
                  <a:schemeClr val="bg1"/>
                </a:solidFill>
              </a:rPr>
              <a:t>partkey</a:t>
            </a:r>
            <a:r>
              <a:rPr lang="en-US" sz="2000">
                <a:solidFill>
                  <a:schemeClr val="bg1"/>
                </a:solidFill>
              </a:rPr>
              <a:t>) = hash</a:t>
            </a:r>
          </a:p>
        </p:txBody>
      </p:sp>
      <p:cxnSp>
        <p:nvCxnSpPr>
          <p:cNvPr id="13" name="Straight Connector 12">
            <a:extLst>
              <a:ext uri="{FF2B5EF4-FFF2-40B4-BE49-F238E27FC236}">
                <a16:creationId xmlns:a16="http://schemas.microsoft.com/office/drawing/2014/main" id="{784464C0-2886-4A5F-B574-1FCFCA1AF6B6}"/>
              </a:ext>
            </a:extLst>
          </p:cNvPr>
          <p:cNvCxnSpPr>
            <a:cxnSpLocks/>
          </p:cNvCxnSpPr>
          <p:nvPr/>
        </p:nvCxnSpPr>
        <p:spPr>
          <a:xfrm>
            <a:off x="4745494" y="814702"/>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4E059C6-817F-44AF-94E9-402179D42074}"/>
              </a:ext>
            </a:extLst>
          </p:cNvPr>
          <p:cNvSpPr txBox="1"/>
          <p:nvPr/>
        </p:nvSpPr>
        <p:spPr>
          <a:xfrm>
            <a:off x="4285246" y="810381"/>
            <a:ext cx="316112" cy="385490"/>
          </a:xfrm>
          <a:prstGeom prst="rect">
            <a:avLst/>
          </a:prstGeom>
          <a:noFill/>
        </p:spPr>
        <p:txBody>
          <a:bodyPr wrap="none" rtlCol="0">
            <a:spAutoFit/>
          </a:bodyPr>
          <a:lstStyle/>
          <a:p>
            <a:r>
              <a:rPr lang="en-US" sz="1905">
                <a:solidFill>
                  <a:schemeClr val="bg1"/>
                </a:solidFill>
              </a:rPr>
              <a:t>1</a:t>
            </a:r>
          </a:p>
        </p:txBody>
      </p:sp>
      <p:sp>
        <p:nvSpPr>
          <p:cNvPr id="23" name="TextBox 22">
            <a:extLst>
              <a:ext uri="{FF2B5EF4-FFF2-40B4-BE49-F238E27FC236}">
                <a16:creationId xmlns:a16="http://schemas.microsoft.com/office/drawing/2014/main" id="{13B5173C-E374-4A2B-B9F6-B0116A250CE3}"/>
              </a:ext>
            </a:extLst>
          </p:cNvPr>
          <p:cNvSpPr txBox="1"/>
          <p:nvPr/>
        </p:nvSpPr>
        <p:spPr>
          <a:xfrm>
            <a:off x="4154549" y="2630670"/>
            <a:ext cx="579005" cy="385490"/>
          </a:xfrm>
          <a:prstGeom prst="rect">
            <a:avLst/>
          </a:prstGeom>
          <a:noFill/>
        </p:spPr>
        <p:txBody>
          <a:bodyPr wrap="none" rtlCol="0">
            <a:spAutoFit/>
          </a:bodyPr>
          <a:lstStyle/>
          <a:p>
            <a:r>
              <a:rPr lang="en-US" sz="1905">
                <a:solidFill>
                  <a:schemeClr val="bg1"/>
                </a:solidFill>
              </a:rPr>
              <a:t>100</a:t>
            </a:r>
          </a:p>
        </p:txBody>
      </p:sp>
      <p:sp>
        <p:nvSpPr>
          <p:cNvPr id="31" name="Rectangle 30">
            <a:extLst>
              <a:ext uri="{FF2B5EF4-FFF2-40B4-BE49-F238E27FC236}">
                <a16:creationId xmlns:a16="http://schemas.microsoft.com/office/drawing/2014/main" id="{0614CA0D-0476-4426-B6B7-B3408B1F606D}"/>
              </a:ext>
            </a:extLst>
          </p:cNvPr>
          <p:cNvSpPr/>
          <p:nvPr/>
        </p:nvSpPr>
        <p:spPr>
          <a:xfrm>
            <a:off x="5075928" y="714881"/>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1</a:t>
            </a:r>
          </a:p>
        </p:txBody>
      </p:sp>
      <p:sp>
        <p:nvSpPr>
          <p:cNvPr id="33" name="Rectangle 32">
            <a:extLst>
              <a:ext uri="{FF2B5EF4-FFF2-40B4-BE49-F238E27FC236}">
                <a16:creationId xmlns:a16="http://schemas.microsoft.com/office/drawing/2014/main" id="{0C4A0AD6-B873-4F13-B66C-3EAF49D8F247}"/>
              </a:ext>
            </a:extLst>
          </p:cNvPr>
          <p:cNvSpPr/>
          <p:nvPr/>
        </p:nvSpPr>
        <p:spPr>
          <a:xfrm>
            <a:off x="5075928" y="1170808"/>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693"/>
              <a:t>Logical p 2</a:t>
            </a:r>
          </a:p>
        </p:txBody>
      </p:sp>
      <p:sp>
        <p:nvSpPr>
          <p:cNvPr id="39" name="TextBox 38">
            <a:extLst>
              <a:ext uri="{FF2B5EF4-FFF2-40B4-BE49-F238E27FC236}">
                <a16:creationId xmlns:a16="http://schemas.microsoft.com/office/drawing/2014/main" id="{7F635E69-5A06-4342-B081-C20112FEF60F}"/>
              </a:ext>
            </a:extLst>
          </p:cNvPr>
          <p:cNvSpPr txBox="1"/>
          <p:nvPr/>
        </p:nvSpPr>
        <p:spPr>
          <a:xfrm>
            <a:off x="7374629" y="63643"/>
            <a:ext cx="3485890" cy="678647"/>
          </a:xfrm>
          <a:prstGeom prst="rect">
            <a:avLst/>
          </a:prstGeom>
          <a:noFill/>
        </p:spPr>
        <p:txBody>
          <a:bodyPr wrap="square" rtlCol="0">
            <a:spAutoFit/>
          </a:bodyPr>
          <a:lstStyle/>
          <a:p>
            <a:r>
              <a:rPr lang="en-US" sz="1905">
                <a:solidFill>
                  <a:schemeClr val="bg1"/>
                </a:solidFill>
              </a:rPr>
              <a:t>20 GB = Max </a:t>
            </a:r>
            <a:r>
              <a:rPr lang="en-US" sz="1905" b="1">
                <a:solidFill>
                  <a:schemeClr val="bg1"/>
                </a:solidFill>
              </a:rPr>
              <a:t>logical </a:t>
            </a:r>
            <a:r>
              <a:rPr lang="en-US" sz="1905">
                <a:solidFill>
                  <a:schemeClr val="bg1"/>
                </a:solidFill>
              </a:rPr>
              <a:t>partition size</a:t>
            </a:r>
          </a:p>
        </p:txBody>
      </p:sp>
      <p:sp>
        <p:nvSpPr>
          <p:cNvPr id="30" name="TextBox 29">
            <a:extLst>
              <a:ext uri="{FF2B5EF4-FFF2-40B4-BE49-F238E27FC236}">
                <a16:creationId xmlns:a16="http://schemas.microsoft.com/office/drawing/2014/main" id="{9D33D136-44AD-49F3-A0FF-38BF4478FDF4}"/>
              </a:ext>
            </a:extLst>
          </p:cNvPr>
          <p:cNvSpPr txBox="1"/>
          <p:nvPr/>
        </p:nvSpPr>
        <p:spPr>
          <a:xfrm>
            <a:off x="7374629" y="801712"/>
            <a:ext cx="4127092" cy="678647"/>
          </a:xfrm>
          <a:prstGeom prst="rect">
            <a:avLst/>
          </a:prstGeom>
          <a:noFill/>
        </p:spPr>
        <p:txBody>
          <a:bodyPr wrap="none" rtlCol="0">
            <a:spAutoFit/>
          </a:bodyPr>
          <a:lstStyle/>
          <a:p>
            <a:r>
              <a:rPr lang="en-US" sz="1905">
                <a:solidFill>
                  <a:schemeClr val="bg1"/>
                </a:solidFill>
              </a:rPr>
              <a:t>MAX: 10 K RUs per physical partition</a:t>
            </a:r>
          </a:p>
          <a:p>
            <a:r>
              <a:rPr lang="en-US" sz="1905">
                <a:solidFill>
                  <a:schemeClr val="bg1"/>
                </a:solidFill>
              </a:rPr>
              <a:t>MAX: 50 GB</a:t>
            </a:r>
          </a:p>
        </p:txBody>
      </p:sp>
      <p:sp>
        <p:nvSpPr>
          <p:cNvPr id="24" name="Rectangle 23">
            <a:extLst>
              <a:ext uri="{FF2B5EF4-FFF2-40B4-BE49-F238E27FC236}">
                <a16:creationId xmlns:a16="http://schemas.microsoft.com/office/drawing/2014/main" id="{0A6904B5-F3F6-48FB-9749-F41C00C34F42}"/>
              </a:ext>
            </a:extLst>
          </p:cNvPr>
          <p:cNvSpPr/>
          <p:nvPr/>
        </p:nvSpPr>
        <p:spPr>
          <a:xfrm>
            <a:off x="8757154" y="1726578"/>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3</a:t>
            </a:r>
          </a:p>
        </p:txBody>
      </p:sp>
      <p:sp>
        <p:nvSpPr>
          <p:cNvPr id="26" name="Rectangle 25">
            <a:extLst>
              <a:ext uri="{FF2B5EF4-FFF2-40B4-BE49-F238E27FC236}">
                <a16:creationId xmlns:a16="http://schemas.microsoft.com/office/drawing/2014/main" id="{E6F3F4F3-49EC-4355-8050-32FE7DEBC712}"/>
              </a:ext>
            </a:extLst>
          </p:cNvPr>
          <p:cNvSpPr/>
          <p:nvPr/>
        </p:nvSpPr>
        <p:spPr>
          <a:xfrm>
            <a:off x="8816161" y="1857105"/>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01</a:t>
            </a:r>
            <a:endParaRPr lang="en-US" sz="1905"/>
          </a:p>
        </p:txBody>
      </p:sp>
      <p:sp>
        <p:nvSpPr>
          <p:cNvPr id="28" name="Rectangle 27">
            <a:extLst>
              <a:ext uri="{FF2B5EF4-FFF2-40B4-BE49-F238E27FC236}">
                <a16:creationId xmlns:a16="http://schemas.microsoft.com/office/drawing/2014/main" id="{E2E2D3E8-C3D5-431D-8AC3-C8DC17CE4498}"/>
              </a:ext>
            </a:extLst>
          </p:cNvPr>
          <p:cNvSpPr/>
          <p:nvPr/>
        </p:nvSpPr>
        <p:spPr>
          <a:xfrm>
            <a:off x="8766007" y="4305855"/>
            <a:ext cx="1392543" cy="239564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905"/>
              <a:t>Partition 4</a:t>
            </a:r>
          </a:p>
        </p:txBody>
      </p:sp>
      <p:sp>
        <p:nvSpPr>
          <p:cNvPr id="29" name="Rectangle 28">
            <a:extLst>
              <a:ext uri="{FF2B5EF4-FFF2-40B4-BE49-F238E27FC236}">
                <a16:creationId xmlns:a16="http://schemas.microsoft.com/office/drawing/2014/main" id="{6E758591-BF96-4322-9D9C-DC7BAED72F03}"/>
              </a:ext>
            </a:extLst>
          </p:cNvPr>
          <p:cNvSpPr/>
          <p:nvPr/>
        </p:nvSpPr>
        <p:spPr>
          <a:xfrm>
            <a:off x="8825014" y="4436382"/>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51</a:t>
            </a:r>
            <a:endParaRPr lang="en-US" sz="1693"/>
          </a:p>
        </p:txBody>
      </p:sp>
      <p:sp>
        <p:nvSpPr>
          <p:cNvPr id="32" name="Rectangle 31">
            <a:extLst>
              <a:ext uri="{FF2B5EF4-FFF2-40B4-BE49-F238E27FC236}">
                <a16:creationId xmlns:a16="http://schemas.microsoft.com/office/drawing/2014/main" id="{6EAA1488-8C77-425D-93EE-94E63CE3676D}"/>
              </a:ext>
            </a:extLst>
          </p:cNvPr>
          <p:cNvSpPr/>
          <p:nvPr/>
        </p:nvSpPr>
        <p:spPr>
          <a:xfrm>
            <a:off x="8825014" y="5738474"/>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200</a:t>
            </a:r>
            <a:endParaRPr lang="en-US" sz="1693"/>
          </a:p>
        </p:txBody>
      </p:sp>
      <p:cxnSp>
        <p:nvCxnSpPr>
          <p:cNvPr id="36" name="Straight Arrow Connector 35">
            <a:extLst>
              <a:ext uri="{FF2B5EF4-FFF2-40B4-BE49-F238E27FC236}">
                <a16:creationId xmlns:a16="http://schemas.microsoft.com/office/drawing/2014/main" id="{482318F8-9F45-4D7C-98E5-243D32D8EA57}"/>
              </a:ext>
            </a:extLst>
          </p:cNvPr>
          <p:cNvCxnSpPr>
            <a:cxnSpLocks/>
          </p:cNvCxnSpPr>
          <p:nvPr/>
        </p:nvCxnSpPr>
        <p:spPr>
          <a:xfrm>
            <a:off x="2738485" y="4006325"/>
            <a:ext cx="5737045" cy="1292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CAB6C157-7012-4A9F-B62E-B04E18B04559}"/>
              </a:ext>
            </a:extLst>
          </p:cNvPr>
          <p:cNvSpPr/>
          <p:nvPr/>
        </p:nvSpPr>
        <p:spPr>
          <a:xfrm>
            <a:off x="8816160" y="313429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sz="1482"/>
              <a:t>Logical 150</a:t>
            </a:r>
            <a:endParaRPr lang="en-US" sz="1693"/>
          </a:p>
        </p:txBody>
      </p:sp>
      <p:cxnSp>
        <p:nvCxnSpPr>
          <p:cNvPr id="6" name="Straight Connector 5">
            <a:extLst>
              <a:ext uri="{FF2B5EF4-FFF2-40B4-BE49-F238E27FC236}">
                <a16:creationId xmlns:a16="http://schemas.microsoft.com/office/drawing/2014/main" id="{8B3F0F29-8969-4016-81C3-58728F27C4E3}"/>
              </a:ext>
            </a:extLst>
          </p:cNvPr>
          <p:cNvCxnSpPr>
            <a:cxnSpLocks/>
          </p:cNvCxnSpPr>
          <p:nvPr/>
        </p:nvCxnSpPr>
        <p:spPr>
          <a:xfrm>
            <a:off x="8621161" y="1857105"/>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0D38ECE-AEA6-4786-A14F-ABFA95D358CC}"/>
              </a:ext>
            </a:extLst>
          </p:cNvPr>
          <p:cNvSpPr txBox="1"/>
          <p:nvPr/>
        </p:nvSpPr>
        <p:spPr>
          <a:xfrm>
            <a:off x="8037073" y="1661674"/>
            <a:ext cx="579005" cy="385490"/>
          </a:xfrm>
          <a:prstGeom prst="rect">
            <a:avLst/>
          </a:prstGeom>
          <a:noFill/>
        </p:spPr>
        <p:txBody>
          <a:bodyPr wrap="none" rtlCol="0">
            <a:spAutoFit/>
          </a:bodyPr>
          <a:lstStyle/>
          <a:p>
            <a:r>
              <a:rPr lang="en-US" sz="1905">
                <a:solidFill>
                  <a:schemeClr val="bg1"/>
                </a:solidFill>
              </a:rPr>
              <a:t>101</a:t>
            </a:r>
          </a:p>
        </p:txBody>
      </p:sp>
      <p:sp>
        <p:nvSpPr>
          <p:cNvPr id="10" name="TextBox 9">
            <a:extLst>
              <a:ext uri="{FF2B5EF4-FFF2-40B4-BE49-F238E27FC236}">
                <a16:creationId xmlns:a16="http://schemas.microsoft.com/office/drawing/2014/main" id="{0F24C4A1-08E9-4627-A860-7E8BD8030B96}"/>
              </a:ext>
            </a:extLst>
          </p:cNvPr>
          <p:cNvSpPr txBox="1"/>
          <p:nvPr/>
        </p:nvSpPr>
        <p:spPr>
          <a:xfrm>
            <a:off x="8030215" y="3609490"/>
            <a:ext cx="579005" cy="385490"/>
          </a:xfrm>
          <a:prstGeom prst="rect">
            <a:avLst/>
          </a:prstGeom>
          <a:noFill/>
        </p:spPr>
        <p:txBody>
          <a:bodyPr wrap="none" rtlCol="0">
            <a:spAutoFit/>
          </a:bodyPr>
          <a:lstStyle/>
          <a:p>
            <a:r>
              <a:rPr lang="en-US" sz="1905">
                <a:solidFill>
                  <a:schemeClr val="bg1"/>
                </a:solidFill>
              </a:rPr>
              <a:t>150</a:t>
            </a:r>
          </a:p>
        </p:txBody>
      </p:sp>
      <p:cxnSp>
        <p:nvCxnSpPr>
          <p:cNvPr id="12" name="Straight Connector 11">
            <a:extLst>
              <a:ext uri="{FF2B5EF4-FFF2-40B4-BE49-F238E27FC236}">
                <a16:creationId xmlns:a16="http://schemas.microsoft.com/office/drawing/2014/main" id="{A60744AF-D318-408F-B3D5-F9FCD89876EB}"/>
              </a:ext>
            </a:extLst>
          </p:cNvPr>
          <p:cNvCxnSpPr>
            <a:cxnSpLocks/>
          </p:cNvCxnSpPr>
          <p:nvPr/>
        </p:nvCxnSpPr>
        <p:spPr>
          <a:xfrm>
            <a:off x="8620768" y="4408380"/>
            <a:ext cx="0" cy="2071114"/>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F27E25C-40FD-431F-B259-B479509411E0}"/>
              </a:ext>
            </a:extLst>
          </p:cNvPr>
          <p:cNvSpPr txBox="1"/>
          <p:nvPr/>
        </p:nvSpPr>
        <p:spPr>
          <a:xfrm>
            <a:off x="8036680" y="4212950"/>
            <a:ext cx="579005" cy="385490"/>
          </a:xfrm>
          <a:prstGeom prst="rect">
            <a:avLst/>
          </a:prstGeom>
          <a:noFill/>
        </p:spPr>
        <p:txBody>
          <a:bodyPr wrap="none" rtlCol="0">
            <a:spAutoFit/>
          </a:bodyPr>
          <a:lstStyle/>
          <a:p>
            <a:r>
              <a:rPr lang="en-US" sz="1905">
                <a:solidFill>
                  <a:schemeClr val="bg1"/>
                </a:solidFill>
              </a:rPr>
              <a:t>151</a:t>
            </a:r>
          </a:p>
        </p:txBody>
      </p:sp>
      <p:sp>
        <p:nvSpPr>
          <p:cNvPr id="16" name="TextBox 15">
            <a:extLst>
              <a:ext uri="{FF2B5EF4-FFF2-40B4-BE49-F238E27FC236}">
                <a16:creationId xmlns:a16="http://schemas.microsoft.com/office/drawing/2014/main" id="{60AF257C-8EE4-41B4-BE97-CEE4637BF6D8}"/>
              </a:ext>
            </a:extLst>
          </p:cNvPr>
          <p:cNvSpPr txBox="1"/>
          <p:nvPr/>
        </p:nvSpPr>
        <p:spPr>
          <a:xfrm>
            <a:off x="8029823" y="6160766"/>
            <a:ext cx="579005" cy="385490"/>
          </a:xfrm>
          <a:prstGeom prst="rect">
            <a:avLst/>
          </a:prstGeom>
          <a:noFill/>
        </p:spPr>
        <p:txBody>
          <a:bodyPr wrap="none" rtlCol="0">
            <a:spAutoFit/>
          </a:bodyPr>
          <a:lstStyle/>
          <a:p>
            <a:r>
              <a:rPr lang="en-US" sz="1905">
                <a:solidFill>
                  <a:schemeClr val="bg1"/>
                </a:solidFill>
              </a:rPr>
              <a:t>200</a:t>
            </a:r>
          </a:p>
        </p:txBody>
      </p:sp>
      <p:sp>
        <p:nvSpPr>
          <p:cNvPr id="46" name="TextBox 45">
            <a:extLst>
              <a:ext uri="{FF2B5EF4-FFF2-40B4-BE49-F238E27FC236}">
                <a16:creationId xmlns:a16="http://schemas.microsoft.com/office/drawing/2014/main" id="{1B739968-A40C-4DE0-B584-0B6AC8AEBF80}"/>
              </a:ext>
            </a:extLst>
          </p:cNvPr>
          <p:cNvSpPr txBox="1"/>
          <p:nvPr/>
        </p:nvSpPr>
        <p:spPr>
          <a:xfrm>
            <a:off x="10158550" y="3794925"/>
            <a:ext cx="1245854" cy="400110"/>
          </a:xfrm>
          <a:prstGeom prst="rect">
            <a:avLst/>
          </a:prstGeom>
          <a:noFill/>
        </p:spPr>
        <p:txBody>
          <a:bodyPr wrap="none" rtlCol="0">
            <a:spAutoFit/>
          </a:bodyPr>
          <a:lstStyle/>
          <a:p>
            <a:r>
              <a:rPr lang="en-US" sz="2000">
                <a:solidFill>
                  <a:schemeClr val="bg1"/>
                </a:solidFill>
              </a:rPr>
              <a:t>5000 RUs</a:t>
            </a:r>
          </a:p>
        </p:txBody>
      </p:sp>
      <p:sp>
        <p:nvSpPr>
          <p:cNvPr id="48" name="TextBox 47">
            <a:extLst>
              <a:ext uri="{FF2B5EF4-FFF2-40B4-BE49-F238E27FC236}">
                <a16:creationId xmlns:a16="http://schemas.microsoft.com/office/drawing/2014/main" id="{DB276AC3-5DCD-4E0F-AF5E-666607CD17AE}"/>
              </a:ext>
            </a:extLst>
          </p:cNvPr>
          <p:cNvSpPr txBox="1"/>
          <p:nvPr/>
        </p:nvSpPr>
        <p:spPr>
          <a:xfrm>
            <a:off x="6409464" y="2714111"/>
            <a:ext cx="1245854" cy="400110"/>
          </a:xfrm>
          <a:prstGeom prst="rect">
            <a:avLst/>
          </a:prstGeom>
          <a:noFill/>
        </p:spPr>
        <p:txBody>
          <a:bodyPr wrap="none" rtlCol="0">
            <a:spAutoFit/>
          </a:bodyPr>
          <a:lstStyle/>
          <a:p>
            <a:r>
              <a:rPr lang="en-US" sz="2000">
                <a:solidFill>
                  <a:schemeClr val="bg1"/>
                </a:solidFill>
              </a:rPr>
              <a:t>5000 RUs</a:t>
            </a:r>
          </a:p>
        </p:txBody>
      </p:sp>
      <p:sp>
        <p:nvSpPr>
          <p:cNvPr id="50" name="TextBox 49">
            <a:extLst>
              <a:ext uri="{FF2B5EF4-FFF2-40B4-BE49-F238E27FC236}">
                <a16:creationId xmlns:a16="http://schemas.microsoft.com/office/drawing/2014/main" id="{9C014257-D0D9-4F4B-B03F-45224B29F67C}"/>
              </a:ext>
            </a:extLst>
          </p:cNvPr>
          <p:cNvSpPr txBox="1"/>
          <p:nvPr/>
        </p:nvSpPr>
        <p:spPr>
          <a:xfrm>
            <a:off x="10139754" y="6394247"/>
            <a:ext cx="1245854" cy="400110"/>
          </a:xfrm>
          <a:prstGeom prst="rect">
            <a:avLst/>
          </a:prstGeom>
          <a:noFill/>
        </p:spPr>
        <p:txBody>
          <a:bodyPr wrap="none" rtlCol="0">
            <a:spAutoFit/>
          </a:bodyPr>
          <a:lstStyle/>
          <a:p>
            <a:r>
              <a:rPr lang="en-US" sz="2000">
                <a:solidFill>
                  <a:schemeClr val="bg1"/>
                </a:solidFill>
              </a:rPr>
              <a:t>5000 RUs</a:t>
            </a:r>
          </a:p>
        </p:txBody>
      </p:sp>
      <p:sp>
        <p:nvSpPr>
          <p:cNvPr id="2" name="Rectangle 1">
            <a:extLst>
              <a:ext uri="{FF2B5EF4-FFF2-40B4-BE49-F238E27FC236}">
                <a16:creationId xmlns:a16="http://schemas.microsoft.com/office/drawing/2014/main" id="{A39D02BA-1324-8825-B956-B276D1EFFA96}"/>
              </a:ext>
            </a:extLst>
          </p:cNvPr>
          <p:cNvSpPr/>
          <p:nvPr/>
        </p:nvSpPr>
        <p:spPr>
          <a:xfrm>
            <a:off x="5091774" y="2272400"/>
            <a:ext cx="1239127" cy="3873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t>Logical 22</a:t>
            </a:r>
          </a:p>
        </p:txBody>
      </p:sp>
    </p:spTree>
    <p:extLst>
      <p:ext uri="{BB962C8B-B14F-4D97-AF65-F5344CB8AC3E}">
        <p14:creationId xmlns:p14="http://schemas.microsoft.com/office/powerpoint/2010/main" val="118371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4" grpId="0"/>
      <p:bldP spid="16" grpId="0"/>
      <p:bldP spid="46" grpId="0"/>
      <p:bldP spid="48" grpId="0"/>
      <p:bldP spid="5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87964-1FC4-7F20-656F-CC66507905E9}"/>
              </a:ext>
            </a:extLst>
          </p:cNvPr>
          <p:cNvSpPr>
            <a:spLocks noGrp="1"/>
          </p:cNvSpPr>
          <p:nvPr>
            <p:ph type="title"/>
          </p:nvPr>
        </p:nvSpPr>
        <p:spPr/>
        <p:txBody>
          <a:bodyPr/>
          <a:lstStyle/>
          <a:p>
            <a:r>
              <a:rPr lang="en-US" dirty="0"/>
              <a:t>Partition key range</a:t>
            </a:r>
          </a:p>
        </p:txBody>
      </p:sp>
      <p:pic>
        <p:nvPicPr>
          <p:cNvPr id="4" name="Picture 3" descr="Graphical user interface, text, application, email&#10;&#10;Description automatically generated">
            <a:extLst>
              <a:ext uri="{FF2B5EF4-FFF2-40B4-BE49-F238E27FC236}">
                <a16:creationId xmlns:a16="http://schemas.microsoft.com/office/drawing/2014/main" id="{6AF67DAB-C8C0-B69F-C91E-FA39BF655DB4}"/>
              </a:ext>
            </a:extLst>
          </p:cNvPr>
          <p:cNvPicPr>
            <a:picLocks noChangeAspect="1"/>
          </p:cNvPicPr>
          <p:nvPr/>
        </p:nvPicPr>
        <p:blipFill>
          <a:blip r:embed="rId2"/>
          <a:stretch>
            <a:fillRect/>
          </a:stretch>
        </p:blipFill>
        <p:spPr>
          <a:xfrm>
            <a:off x="5197740" y="143182"/>
            <a:ext cx="6023635" cy="6459341"/>
          </a:xfrm>
          <a:prstGeom prst="rect">
            <a:avLst/>
          </a:prstGeom>
        </p:spPr>
      </p:pic>
    </p:spTree>
    <p:extLst>
      <p:ext uri="{BB962C8B-B14F-4D97-AF65-F5344CB8AC3E}">
        <p14:creationId xmlns:p14="http://schemas.microsoft.com/office/powerpoint/2010/main" val="388428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ADD76B0-86FB-41B2-825A-C234E771A521}"/>
              </a:ext>
            </a:extLst>
          </p:cNvPr>
          <p:cNvSpPr>
            <a:spLocks noGrp="1"/>
          </p:cNvSpPr>
          <p:nvPr>
            <p:ph type="title"/>
          </p:nvPr>
        </p:nvSpPr>
        <p:spPr>
          <a:xfrm>
            <a:off x="588263" y="457200"/>
            <a:ext cx="11018520" cy="553998"/>
          </a:xfrm>
        </p:spPr>
        <p:txBody>
          <a:bodyPr/>
          <a:lstStyle/>
          <a:p>
            <a:r>
              <a:rPr lang="en-US" dirty="0"/>
              <a:t>Portal warning – throughput increase</a:t>
            </a:r>
          </a:p>
        </p:txBody>
      </p:sp>
      <p:pic>
        <p:nvPicPr>
          <p:cNvPr id="3" name="Picture 2">
            <a:extLst>
              <a:ext uri="{FF2B5EF4-FFF2-40B4-BE49-F238E27FC236}">
                <a16:creationId xmlns:a16="http://schemas.microsoft.com/office/drawing/2014/main" id="{FA8EABFB-DFDB-4452-93C0-AFC0DF06D656}"/>
              </a:ext>
            </a:extLst>
          </p:cNvPr>
          <p:cNvPicPr>
            <a:picLocks noChangeAspect="1"/>
          </p:cNvPicPr>
          <p:nvPr/>
        </p:nvPicPr>
        <p:blipFill>
          <a:blip r:embed="rId3"/>
          <a:stretch>
            <a:fillRect/>
          </a:stretch>
        </p:blipFill>
        <p:spPr>
          <a:xfrm>
            <a:off x="417059" y="1434370"/>
            <a:ext cx="10268763" cy="4467666"/>
          </a:xfrm>
          <a:prstGeom prst="rect">
            <a:avLst/>
          </a:prstGeom>
        </p:spPr>
      </p:pic>
      <p:sp>
        <p:nvSpPr>
          <p:cNvPr id="5" name="Text Placeholder 4">
            <a:extLst>
              <a:ext uri="{FF2B5EF4-FFF2-40B4-BE49-F238E27FC236}">
                <a16:creationId xmlns:a16="http://schemas.microsoft.com/office/drawing/2014/main" id="{46CA211B-C41C-468E-999D-5D7F05A0063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4064481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FD767-14C8-400B-99C6-E94D04303339}"/>
              </a:ext>
            </a:extLst>
          </p:cNvPr>
          <p:cNvSpPr>
            <a:spLocks noGrp="1"/>
          </p:cNvSpPr>
          <p:nvPr>
            <p:ph type="title"/>
          </p:nvPr>
        </p:nvSpPr>
        <p:spPr/>
        <p:txBody>
          <a:bodyPr/>
          <a:lstStyle/>
          <a:p>
            <a:r>
              <a:rPr lang="en-US" sz="6000" dirty="0"/>
              <a:t>Hot partition</a:t>
            </a:r>
          </a:p>
        </p:txBody>
      </p:sp>
    </p:spTree>
    <p:extLst>
      <p:ext uri="{BB962C8B-B14F-4D97-AF65-F5344CB8AC3E}">
        <p14:creationId xmlns:p14="http://schemas.microsoft.com/office/powerpoint/2010/main" val="377341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ADD76B0-86FB-41B2-825A-C234E771A521}"/>
              </a:ext>
            </a:extLst>
          </p:cNvPr>
          <p:cNvSpPr>
            <a:spLocks noGrp="1"/>
          </p:cNvSpPr>
          <p:nvPr>
            <p:ph type="title"/>
          </p:nvPr>
        </p:nvSpPr>
        <p:spPr>
          <a:xfrm>
            <a:off x="588263" y="457200"/>
            <a:ext cx="11018520" cy="553998"/>
          </a:xfrm>
        </p:spPr>
        <p:txBody>
          <a:bodyPr/>
          <a:lstStyle/>
          <a:p>
            <a:r>
              <a:rPr lang="en-US" dirty="0"/>
              <a:t>Monitoring Insights</a:t>
            </a:r>
          </a:p>
        </p:txBody>
      </p:sp>
      <p:pic>
        <p:nvPicPr>
          <p:cNvPr id="9" name="Picture 8">
            <a:extLst>
              <a:ext uri="{FF2B5EF4-FFF2-40B4-BE49-F238E27FC236}">
                <a16:creationId xmlns:a16="http://schemas.microsoft.com/office/drawing/2014/main" id="{3C183A2A-D8F8-473D-9CBF-E4590C5183C0}"/>
              </a:ext>
            </a:extLst>
          </p:cNvPr>
          <p:cNvPicPr>
            <a:picLocks noChangeAspect="1"/>
          </p:cNvPicPr>
          <p:nvPr/>
        </p:nvPicPr>
        <p:blipFill>
          <a:blip r:embed="rId3"/>
          <a:stretch>
            <a:fillRect/>
          </a:stretch>
        </p:blipFill>
        <p:spPr>
          <a:xfrm>
            <a:off x="239230" y="1293485"/>
            <a:ext cx="12028067" cy="4588025"/>
          </a:xfrm>
          <a:prstGeom prst="rect">
            <a:avLst/>
          </a:prstGeom>
        </p:spPr>
      </p:pic>
    </p:spTree>
    <p:extLst>
      <p:ext uri="{BB962C8B-B14F-4D97-AF65-F5344CB8AC3E}">
        <p14:creationId xmlns:p14="http://schemas.microsoft.com/office/powerpoint/2010/main" val="27958612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5376F-A0DD-4803-B586-4ABB49308E71}"/>
              </a:ext>
            </a:extLst>
          </p:cNvPr>
          <p:cNvSpPr>
            <a:spLocks noGrp="1"/>
          </p:cNvSpPr>
          <p:nvPr>
            <p:ph type="title"/>
          </p:nvPr>
        </p:nvSpPr>
        <p:spPr>
          <a:xfrm>
            <a:off x="4423719" y="2002634"/>
            <a:ext cx="7220828" cy="2852737"/>
          </a:xfrm>
        </p:spPr>
        <p:txBody>
          <a:bodyPr/>
          <a:lstStyle/>
          <a:p>
            <a:r>
              <a:rPr lang="en-US" sz="3200" dirty="0"/>
              <a:t>Agenda</a:t>
            </a:r>
            <a:br>
              <a:rPr lang="en-US" sz="3200" dirty="0"/>
            </a:br>
            <a:br>
              <a:rPr lang="en-US" sz="3200" dirty="0"/>
            </a:br>
            <a:r>
              <a:rPr lang="en-US" sz="3200" dirty="0"/>
              <a:t>Cosmos DB architecture</a:t>
            </a:r>
            <a:br>
              <a:rPr lang="en-US" sz="3200" dirty="0"/>
            </a:br>
            <a:r>
              <a:rPr lang="en-US" sz="3200" dirty="0"/>
              <a:t>SDK interaction with Cosmos DB</a:t>
            </a:r>
            <a:br>
              <a:rPr lang="en-US" sz="3200" dirty="0"/>
            </a:br>
            <a:r>
              <a:rPr lang="en-US" sz="3200" dirty="0"/>
              <a:t>Partition design and scalability</a:t>
            </a:r>
            <a:br>
              <a:rPr lang="en-US" sz="3200" dirty="0"/>
            </a:br>
            <a:r>
              <a:rPr lang="en-US" sz="3200" dirty="0"/>
              <a:t>Q&amp;A</a:t>
            </a:r>
          </a:p>
        </p:txBody>
      </p:sp>
    </p:spTree>
    <p:extLst>
      <p:ext uri="{BB962C8B-B14F-4D97-AF65-F5344CB8AC3E}">
        <p14:creationId xmlns:p14="http://schemas.microsoft.com/office/powerpoint/2010/main" val="155661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ADD76B0-86FB-41B2-825A-C234E771A521}"/>
              </a:ext>
            </a:extLst>
          </p:cNvPr>
          <p:cNvSpPr>
            <a:spLocks noGrp="1"/>
          </p:cNvSpPr>
          <p:nvPr>
            <p:ph type="title"/>
          </p:nvPr>
        </p:nvSpPr>
        <p:spPr>
          <a:xfrm>
            <a:off x="588263" y="457200"/>
            <a:ext cx="11018520" cy="553998"/>
          </a:xfrm>
        </p:spPr>
        <p:txBody>
          <a:bodyPr/>
          <a:lstStyle/>
          <a:p>
            <a:r>
              <a:rPr lang="en-US" dirty="0"/>
              <a:t>Log Analytics</a:t>
            </a:r>
          </a:p>
        </p:txBody>
      </p:sp>
      <p:pic>
        <p:nvPicPr>
          <p:cNvPr id="6" name="Picture 5">
            <a:extLst>
              <a:ext uri="{FF2B5EF4-FFF2-40B4-BE49-F238E27FC236}">
                <a16:creationId xmlns:a16="http://schemas.microsoft.com/office/drawing/2014/main" id="{AF702A73-91B1-48AB-A5F7-BEDBE1E968E5}"/>
              </a:ext>
            </a:extLst>
          </p:cNvPr>
          <p:cNvPicPr>
            <a:picLocks noChangeAspect="1"/>
          </p:cNvPicPr>
          <p:nvPr/>
        </p:nvPicPr>
        <p:blipFill>
          <a:blip r:embed="rId3"/>
          <a:stretch>
            <a:fillRect/>
          </a:stretch>
        </p:blipFill>
        <p:spPr>
          <a:xfrm>
            <a:off x="3548418" y="148287"/>
            <a:ext cx="8529851" cy="6561425"/>
          </a:xfrm>
          <a:prstGeom prst="rect">
            <a:avLst/>
          </a:prstGeom>
        </p:spPr>
      </p:pic>
    </p:spTree>
    <p:extLst>
      <p:ext uri="{BB962C8B-B14F-4D97-AF65-F5344CB8AC3E}">
        <p14:creationId xmlns:p14="http://schemas.microsoft.com/office/powerpoint/2010/main" val="24318612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FAE3A-FFD1-492F-A3BB-2ED8E5F5DDC9}"/>
              </a:ext>
            </a:extLst>
          </p:cNvPr>
          <p:cNvSpPr>
            <a:spLocks noGrp="1"/>
          </p:cNvSpPr>
          <p:nvPr>
            <p:ph type="title"/>
          </p:nvPr>
        </p:nvSpPr>
        <p:spPr/>
        <p:txBody>
          <a:bodyPr/>
          <a:lstStyle/>
          <a:p>
            <a:r>
              <a:rPr lang="en-US" dirty="0"/>
              <a:t>Partition design</a:t>
            </a:r>
          </a:p>
        </p:txBody>
      </p:sp>
      <p:sp>
        <p:nvSpPr>
          <p:cNvPr id="3" name="Text Placeholder 2">
            <a:extLst>
              <a:ext uri="{FF2B5EF4-FFF2-40B4-BE49-F238E27FC236}">
                <a16:creationId xmlns:a16="http://schemas.microsoft.com/office/drawing/2014/main" id="{7F7BA38C-0B4E-42CA-9731-232C90993BE3}"/>
              </a:ext>
            </a:extLst>
          </p:cNvPr>
          <p:cNvSpPr>
            <a:spLocks noGrp="1"/>
          </p:cNvSpPr>
          <p:nvPr>
            <p:ph type="body" sz="quarter" idx="10"/>
          </p:nvPr>
        </p:nvSpPr>
        <p:spPr>
          <a:xfrm>
            <a:off x="586389" y="1434370"/>
            <a:ext cx="11241433" cy="3693319"/>
          </a:xfrm>
        </p:spPr>
        <p:txBody>
          <a:bodyPr/>
          <a:lstStyle/>
          <a:p>
            <a:pPr marL="457200" indent="-457200">
              <a:buFont typeface="Arial" panose="020B0604020202020204" pitchFamily="34" charset="0"/>
              <a:buChar char="•"/>
            </a:pPr>
            <a:r>
              <a:rPr lang="en-US" sz="3600" kern="0" dirty="0">
                <a:solidFill>
                  <a:schemeClr val="tx1"/>
                </a:solidFill>
              </a:rPr>
              <a:t>Partition key based on timestamp: YYYYMMDDHH</a:t>
            </a:r>
          </a:p>
          <a:p>
            <a:pPr marL="685800" lvl="1" indent="-457200">
              <a:buFont typeface="Arial" panose="020B0604020202020204" pitchFamily="34" charset="0"/>
              <a:buChar char="•"/>
            </a:pPr>
            <a:r>
              <a:rPr lang="en-US" sz="3200" kern="0" dirty="0">
                <a:solidFill>
                  <a:schemeClr val="tx1"/>
                </a:solidFill>
              </a:rPr>
              <a:t>Ex.: Bluetooth devices</a:t>
            </a:r>
          </a:p>
          <a:p>
            <a:pPr marL="457200" indent="-457200">
              <a:buFont typeface="Arial" panose="020B0604020202020204" pitchFamily="34" charset="0"/>
              <a:buChar char="•"/>
            </a:pPr>
            <a:r>
              <a:rPr lang="en-US" sz="3600" kern="0" dirty="0">
                <a:solidFill>
                  <a:schemeClr val="tx1"/>
                </a:solidFill>
              </a:rPr>
              <a:t>Betting system using a game as partition key (“Barcelona_RealMadrid_20210101”)</a:t>
            </a:r>
          </a:p>
          <a:p>
            <a:pPr marL="457200" indent="-457200">
              <a:buFont typeface="Arial" panose="020B0604020202020204" pitchFamily="34" charset="0"/>
              <a:buChar char="•"/>
            </a:pPr>
            <a:r>
              <a:rPr lang="en-US" sz="3600" kern="0" dirty="0" err="1">
                <a:solidFill>
                  <a:schemeClr val="tx1"/>
                </a:solidFill>
              </a:rPr>
              <a:t>TinyURL</a:t>
            </a:r>
            <a:endParaRPr lang="en-US" sz="3600" kern="0" dirty="0">
              <a:solidFill>
                <a:schemeClr val="tx1"/>
              </a:solidFill>
            </a:endParaRPr>
          </a:p>
          <a:p>
            <a:pPr marL="457200" indent="-457200">
              <a:buFont typeface="Arial" panose="020B0604020202020204" pitchFamily="34" charset="0"/>
              <a:buChar char="•"/>
            </a:pPr>
            <a:r>
              <a:rPr lang="en-US" sz="3600" kern="0" dirty="0">
                <a:solidFill>
                  <a:schemeClr val="tx1"/>
                </a:solidFill>
              </a:rPr>
              <a:t>Global unique identifier (GUID)</a:t>
            </a:r>
            <a:endParaRPr lang="en-US" dirty="0"/>
          </a:p>
        </p:txBody>
      </p:sp>
    </p:spTree>
    <p:extLst>
      <p:ext uri="{BB962C8B-B14F-4D97-AF65-F5344CB8AC3E}">
        <p14:creationId xmlns:p14="http://schemas.microsoft.com/office/powerpoint/2010/main" val="16194791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FAE3A-FFD1-492F-A3BB-2ED8E5F5DDC9}"/>
              </a:ext>
            </a:extLst>
          </p:cNvPr>
          <p:cNvSpPr>
            <a:spLocks noGrp="1"/>
          </p:cNvSpPr>
          <p:nvPr>
            <p:ph type="title"/>
          </p:nvPr>
        </p:nvSpPr>
        <p:spPr>
          <a:xfrm>
            <a:off x="588263" y="457200"/>
            <a:ext cx="11018520" cy="553998"/>
          </a:xfrm>
        </p:spPr>
        <p:txBody>
          <a:bodyPr/>
          <a:lstStyle/>
          <a:p>
            <a:r>
              <a:rPr lang="en-US"/>
              <a:t>Conclusion</a:t>
            </a:r>
          </a:p>
        </p:txBody>
      </p:sp>
      <p:sp>
        <p:nvSpPr>
          <p:cNvPr id="3" name="Text Placeholder 2">
            <a:extLst>
              <a:ext uri="{FF2B5EF4-FFF2-40B4-BE49-F238E27FC236}">
                <a16:creationId xmlns:a16="http://schemas.microsoft.com/office/drawing/2014/main" id="{7F7BA38C-0B4E-42CA-9731-232C90993BE3}"/>
              </a:ext>
            </a:extLst>
          </p:cNvPr>
          <p:cNvSpPr>
            <a:spLocks noGrp="1"/>
          </p:cNvSpPr>
          <p:nvPr>
            <p:ph type="body" sz="quarter" idx="10"/>
          </p:nvPr>
        </p:nvSpPr>
        <p:spPr>
          <a:xfrm>
            <a:off x="586390" y="1434370"/>
            <a:ext cx="11018520" cy="4678204"/>
          </a:xfrm>
        </p:spPr>
        <p:txBody>
          <a:bodyPr/>
          <a:lstStyle/>
          <a:p>
            <a:pPr marL="457200" indent="-457200">
              <a:buFont typeface="Arial" panose="020B0604020202020204" pitchFamily="34" charset="0"/>
              <a:buChar char="•"/>
            </a:pPr>
            <a:r>
              <a:rPr lang="en-US" sz="4000" kern="0" dirty="0"/>
              <a:t>Understand Cosmos DB architecture and partition design</a:t>
            </a:r>
          </a:p>
          <a:p>
            <a:pPr marL="457200" indent="-457200">
              <a:buFont typeface="Arial" panose="020B0604020202020204" pitchFamily="34" charset="0"/>
              <a:buChar char="•"/>
            </a:pPr>
            <a:r>
              <a:rPr lang="en-US" sz="4000" kern="0" dirty="0"/>
              <a:t>Application instrumentation is crucial for troubleshooting</a:t>
            </a:r>
          </a:p>
          <a:p>
            <a:pPr marL="457200" indent="-457200">
              <a:buFont typeface="Arial" panose="020B0604020202020204" pitchFamily="34" charset="0"/>
              <a:buChar char="•"/>
            </a:pPr>
            <a:r>
              <a:rPr lang="en-US" sz="4000" kern="0" dirty="0"/>
              <a:t>RU budget and throttling are your friend</a:t>
            </a:r>
          </a:p>
          <a:p>
            <a:pPr marL="457200" indent="-457200">
              <a:buFont typeface="Arial" panose="020B0604020202020204" pitchFamily="34" charset="0"/>
              <a:buChar char="•"/>
            </a:pPr>
            <a:r>
              <a:rPr lang="en-US" sz="4000" kern="0" dirty="0"/>
              <a:t>When used efficiently, scalability and black Friday will not be a problem </a:t>
            </a:r>
            <a:r>
              <a:rPr lang="en-US" sz="4000" kern="0" dirty="0">
                <a:sym typeface="Wingdings" panose="05000000000000000000" pitchFamily="2" charset="2"/>
              </a:rPr>
              <a:t></a:t>
            </a:r>
            <a:endParaRPr lang="en-US" dirty="0"/>
          </a:p>
        </p:txBody>
      </p:sp>
    </p:spTree>
    <p:extLst>
      <p:ext uri="{BB962C8B-B14F-4D97-AF65-F5344CB8AC3E}">
        <p14:creationId xmlns:p14="http://schemas.microsoft.com/office/powerpoint/2010/main" val="8534911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BF2B3-AC2D-4473-873E-74425D0F96BF}"/>
              </a:ext>
            </a:extLst>
          </p:cNvPr>
          <p:cNvSpPr>
            <a:spLocks noGrp="1"/>
          </p:cNvSpPr>
          <p:nvPr>
            <p:ph type="title"/>
          </p:nvPr>
        </p:nvSpPr>
        <p:spPr/>
        <p:txBody>
          <a:bodyPr/>
          <a:lstStyle/>
          <a:p>
            <a:pPr algn="l"/>
            <a:r>
              <a:rPr lang="en-US" sz="5400" dirty="0"/>
              <a:t>What is next?</a:t>
            </a:r>
            <a:br>
              <a:rPr lang="en-US" sz="3600" dirty="0"/>
            </a:br>
            <a:br>
              <a:rPr lang="en-US" sz="3600" dirty="0"/>
            </a:br>
            <a:r>
              <a:rPr lang="en-US" b="1" i="0" dirty="0">
                <a:solidFill>
                  <a:srgbClr val="C9D1D9"/>
                </a:solidFill>
                <a:effectLst/>
                <a:latin typeface="-apple-system"/>
              </a:rPr>
              <a:t>Tell us what you think at </a:t>
            </a:r>
            <a:r>
              <a:rPr lang="en-US" b="1" i="0" u="none" strike="noStrike" dirty="0">
                <a:solidFill>
                  <a:srgbClr val="C9D1D9"/>
                </a:solidFill>
                <a:effectLst/>
                <a:latin typeface="-apple-system"/>
                <a:hlinkClick r:id="rId2"/>
              </a:rPr>
              <a:t>aka.ms/</a:t>
            </a:r>
            <a:r>
              <a:rPr lang="en-US" b="1" i="0" u="none" strike="noStrike" dirty="0" err="1">
                <a:solidFill>
                  <a:srgbClr val="C9D1D9"/>
                </a:solidFill>
                <a:effectLst/>
                <a:latin typeface="-apple-system"/>
                <a:hlinkClick r:id="rId2"/>
              </a:rPr>
              <a:t>ftalive</a:t>
            </a:r>
            <a:r>
              <a:rPr lang="en-US" b="1" i="0" u="none" strike="noStrike" dirty="0">
                <a:solidFill>
                  <a:srgbClr val="C9D1D9"/>
                </a:solidFill>
                <a:effectLst/>
                <a:latin typeface="-apple-system"/>
                <a:hlinkClick r:id="rId2"/>
              </a:rPr>
              <a:t>-feedback</a:t>
            </a:r>
            <a:r>
              <a:rPr lang="en-US" b="0" i="0" dirty="0">
                <a:solidFill>
                  <a:srgbClr val="C9D1D9"/>
                </a:solidFill>
                <a:effectLst/>
                <a:latin typeface="-apple-system"/>
              </a:rPr>
              <a:t> </a:t>
            </a:r>
            <a:br>
              <a:rPr lang="en-US" b="0" i="0" dirty="0">
                <a:solidFill>
                  <a:srgbClr val="C9D1D9"/>
                </a:solidFill>
                <a:effectLst/>
                <a:latin typeface="-apple-system"/>
              </a:rPr>
            </a:br>
            <a:r>
              <a:rPr lang="en-US" sz="2800" b="0" i="0" dirty="0">
                <a:solidFill>
                  <a:srgbClr val="C9D1D9"/>
                </a:solidFill>
                <a:effectLst/>
                <a:latin typeface="-apple-system"/>
              </a:rPr>
              <a:t>Help us improve this delivery format and let us know if this has been useful.</a:t>
            </a:r>
            <a:br>
              <a:rPr lang="en-US" b="0" i="0" dirty="0">
                <a:solidFill>
                  <a:srgbClr val="C9D1D9"/>
                </a:solidFill>
                <a:effectLst/>
                <a:latin typeface="-apple-system"/>
              </a:rPr>
            </a:br>
            <a:br>
              <a:rPr lang="en-US" b="0" i="0" dirty="0">
                <a:solidFill>
                  <a:srgbClr val="C9D1D9"/>
                </a:solidFill>
                <a:effectLst/>
                <a:latin typeface="-apple-system"/>
              </a:rPr>
            </a:br>
            <a:r>
              <a:rPr lang="en-US" b="1" i="0" dirty="0">
                <a:solidFill>
                  <a:srgbClr val="C9D1D9"/>
                </a:solidFill>
                <a:effectLst/>
                <a:latin typeface="-apple-system"/>
              </a:rPr>
              <a:t>Visit </a:t>
            </a:r>
            <a:r>
              <a:rPr lang="en-US" b="1" i="0" u="none" strike="noStrike" dirty="0">
                <a:solidFill>
                  <a:srgbClr val="C9D1D9"/>
                </a:solidFill>
                <a:effectLst/>
                <a:latin typeface="-apple-system"/>
                <a:hlinkClick r:id="rId3"/>
              </a:rPr>
              <a:t>aka.ms/</a:t>
            </a:r>
            <a:r>
              <a:rPr lang="en-US" b="1" i="0" u="none" strike="noStrike" dirty="0" err="1">
                <a:solidFill>
                  <a:srgbClr val="C9D1D9"/>
                </a:solidFill>
                <a:effectLst/>
                <a:latin typeface="-apple-system"/>
                <a:hlinkClick r:id="rId3"/>
              </a:rPr>
              <a:t>ftalive</a:t>
            </a:r>
            <a:r>
              <a:rPr lang="en-US" b="1" i="0" dirty="0">
                <a:solidFill>
                  <a:srgbClr val="C9D1D9"/>
                </a:solidFill>
                <a:effectLst/>
                <a:latin typeface="-apple-system"/>
              </a:rPr>
              <a:t> to sign up for other topics</a:t>
            </a:r>
            <a:r>
              <a:rPr lang="en-US" b="0" i="0" dirty="0">
                <a:solidFill>
                  <a:srgbClr val="C9D1D9"/>
                </a:solidFill>
                <a:effectLst/>
                <a:latin typeface="-apple-system"/>
              </a:rPr>
              <a:t> - they are open to everyone.</a:t>
            </a:r>
            <a:br>
              <a:rPr lang="en-US" sz="2000" b="0" i="0" dirty="0">
                <a:solidFill>
                  <a:srgbClr val="C9D1D9"/>
                </a:solidFill>
                <a:effectLst/>
                <a:latin typeface="-apple-system"/>
              </a:rPr>
            </a:br>
            <a:br>
              <a:rPr lang="en-US" sz="3600" dirty="0"/>
            </a:br>
            <a:endParaRPr lang="en-US" dirty="0"/>
          </a:p>
        </p:txBody>
      </p:sp>
    </p:spTree>
    <p:extLst>
      <p:ext uri="{BB962C8B-B14F-4D97-AF65-F5344CB8AC3E}">
        <p14:creationId xmlns:p14="http://schemas.microsoft.com/office/powerpoint/2010/main" val="178558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BF2B3-AC2D-4473-873E-74425D0F96BF}"/>
              </a:ext>
            </a:extLst>
          </p:cNvPr>
          <p:cNvSpPr>
            <a:spLocks noGrp="1"/>
          </p:cNvSpPr>
          <p:nvPr>
            <p:ph type="title"/>
          </p:nvPr>
        </p:nvSpPr>
        <p:spPr/>
        <p:txBody>
          <a:bodyPr/>
          <a:lstStyle/>
          <a:p>
            <a:r>
              <a:rPr lang="en-US" sz="3600" dirty="0"/>
              <a:t>Questions?</a:t>
            </a:r>
            <a:br>
              <a:rPr lang="en-US" sz="3600" dirty="0"/>
            </a:br>
            <a:br>
              <a:rPr lang="en-US" sz="3600" dirty="0"/>
            </a:br>
            <a:r>
              <a:rPr lang="en-US" sz="3600" dirty="0">
                <a:hlinkClick r:id="rId2"/>
              </a:rPr>
              <a:t>luciano.moreira@microsoft.com</a:t>
            </a:r>
            <a:br>
              <a:rPr lang="en-US" sz="3600" dirty="0"/>
            </a:br>
            <a:endParaRPr lang="en-US" dirty="0"/>
          </a:p>
        </p:txBody>
      </p:sp>
    </p:spTree>
    <p:extLst>
      <p:ext uri="{BB962C8B-B14F-4D97-AF65-F5344CB8AC3E}">
        <p14:creationId xmlns:p14="http://schemas.microsoft.com/office/powerpoint/2010/main" val="158975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92A992-932A-4974-4C28-46DD55091B45}"/>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45042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130-22BE-475D-B99E-58E522A4A65B}"/>
              </a:ext>
            </a:extLst>
          </p:cNvPr>
          <p:cNvSpPr>
            <a:spLocks noGrp="1"/>
          </p:cNvSpPr>
          <p:nvPr>
            <p:ph type="title"/>
          </p:nvPr>
        </p:nvSpPr>
        <p:spPr>
          <a:xfrm>
            <a:off x="563369" y="473236"/>
            <a:ext cx="3556049" cy="616280"/>
          </a:xfrm>
        </p:spPr>
        <p:txBody>
          <a:bodyPr/>
          <a:lstStyle/>
          <a:p>
            <a:r>
              <a:rPr lang="en-US" dirty="0"/>
              <a:t>Inverted index</a:t>
            </a:r>
          </a:p>
        </p:txBody>
      </p:sp>
      <p:sp>
        <p:nvSpPr>
          <p:cNvPr id="7" name="Rectangle 6">
            <a:extLst>
              <a:ext uri="{FF2B5EF4-FFF2-40B4-BE49-F238E27FC236}">
                <a16:creationId xmlns:a16="http://schemas.microsoft.com/office/drawing/2014/main" id="{8E564370-C6B7-4AE3-8429-3B5EABD1E8B8}"/>
              </a:ext>
            </a:extLst>
          </p:cNvPr>
          <p:cNvSpPr/>
          <p:nvPr/>
        </p:nvSpPr>
        <p:spPr>
          <a:xfrm>
            <a:off x="287668" y="5433016"/>
            <a:ext cx="11904332" cy="1077218"/>
          </a:xfrm>
          <a:prstGeom prst="rect">
            <a:avLst/>
          </a:prstGeom>
        </p:spPr>
        <p:txBody>
          <a:bodyPr wrap="square">
            <a:spAutoFit/>
          </a:bodyPr>
          <a:lstStyle/>
          <a:p>
            <a:r>
              <a:rPr lang="en-US" sz="3200" dirty="0">
                <a:solidFill>
                  <a:schemeClr val="bg1"/>
                </a:solidFill>
                <a:hlinkClick r:id="rId3"/>
              </a:rPr>
              <a:t>https://www.vldb.org/pvldb/vol8/p1668-shukla.pdf</a:t>
            </a:r>
            <a:endParaRPr lang="en-US" sz="3200" dirty="0">
              <a:solidFill>
                <a:schemeClr val="bg1"/>
              </a:solidFill>
            </a:endParaRPr>
          </a:p>
          <a:p>
            <a:r>
              <a:rPr lang="en-US" sz="3200" dirty="0">
                <a:solidFill>
                  <a:schemeClr val="bg1"/>
                </a:solidFill>
              </a:rPr>
              <a:t>Schema-Agnostic Indexing with Azure </a:t>
            </a:r>
            <a:r>
              <a:rPr lang="en-US" sz="3200" dirty="0" err="1">
                <a:solidFill>
                  <a:schemeClr val="bg1"/>
                </a:solidFill>
              </a:rPr>
              <a:t>DocumentDB</a:t>
            </a:r>
            <a:endParaRPr lang="en-US" sz="3200" dirty="0">
              <a:solidFill>
                <a:schemeClr val="bg1"/>
              </a:solidFill>
            </a:endParaRPr>
          </a:p>
        </p:txBody>
      </p:sp>
      <p:pic>
        <p:nvPicPr>
          <p:cNvPr id="5" name="Picture 4">
            <a:extLst>
              <a:ext uri="{FF2B5EF4-FFF2-40B4-BE49-F238E27FC236}">
                <a16:creationId xmlns:a16="http://schemas.microsoft.com/office/drawing/2014/main" id="{90D8B901-7DCC-4101-A16C-5B57E9219960}"/>
              </a:ext>
            </a:extLst>
          </p:cNvPr>
          <p:cNvPicPr>
            <a:picLocks noChangeAspect="1"/>
          </p:cNvPicPr>
          <p:nvPr/>
        </p:nvPicPr>
        <p:blipFill>
          <a:blip r:embed="rId4"/>
          <a:stretch>
            <a:fillRect/>
          </a:stretch>
        </p:blipFill>
        <p:spPr>
          <a:xfrm>
            <a:off x="4341140" y="435790"/>
            <a:ext cx="7241309" cy="4842913"/>
          </a:xfrm>
          <a:prstGeom prst="rect">
            <a:avLst/>
          </a:prstGeom>
        </p:spPr>
      </p:pic>
    </p:spTree>
    <p:extLst>
      <p:ext uri="{BB962C8B-B14F-4D97-AF65-F5344CB8AC3E}">
        <p14:creationId xmlns:p14="http://schemas.microsoft.com/office/powerpoint/2010/main" val="251445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130-22BE-475D-B99E-58E522A4A65B}"/>
              </a:ext>
            </a:extLst>
          </p:cNvPr>
          <p:cNvSpPr>
            <a:spLocks noGrp="1"/>
          </p:cNvSpPr>
          <p:nvPr>
            <p:ph type="title"/>
          </p:nvPr>
        </p:nvSpPr>
        <p:spPr>
          <a:xfrm>
            <a:off x="563369" y="473236"/>
            <a:ext cx="11081177" cy="690546"/>
          </a:xfrm>
        </p:spPr>
        <p:txBody>
          <a:bodyPr/>
          <a:lstStyle/>
          <a:p>
            <a:r>
              <a:rPr lang="en-US" dirty="0"/>
              <a:t>Scenarios</a:t>
            </a:r>
          </a:p>
        </p:txBody>
      </p:sp>
      <p:sp>
        <p:nvSpPr>
          <p:cNvPr id="4" name="Rectangle 3">
            <a:extLst>
              <a:ext uri="{FF2B5EF4-FFF2-40B4-BE49-F238E27FC236}">
                <a16:creationId xmlns:a16="http://schemas.microsoft.com/office/drawing/2014/main" id="{8BD23B5C-9FEC-4A83-82F4-2DBED0BF42F4}"/>
              </a:ext>
            </a:extLst>
          </p:cNvPr>
          <p:cNvSpPr/>
          <p:nvPr/>
        </p:nvSpPr>
        <p:spPr>
          <a:xfrm>
            <a:off x="0" y="6150114"/>
            <a:ext cx="11904332" cy="707886"/>
          </a:xfrm>
          <a:prstGeom prst="rect">
            <a:avLst/>
          </a:prstGeom>
        </p:spPr>
        <p:txBody>
          <a:bodyPr wrap="square">
            <a:spAutoFit/>
          </a:bodyPr>
          <a:lstStyle/>
          <a:p>
            <a:r>
              <a:rPr lang="en-US" sz="2000" dirty="0">
                <a:solidFill>
                  <a:schemeClr val="bg1"/>
                </a:solidFill>
                <a:hlinkClick r:id="rId3"/>
              </a:rPr>
              <a:t>https://docs.microsoft.com/en-us/azure/cosmos-db/use-cases</a:t>
            </a:r>
            <a:r>
              <a:rPr lang="en-US" sz="2000" dirty="0">
                <a:solidFill>
                  <a:schemeClr val="bg1"/>
                </a:solidFill>
              </a:rPr>
              <a:t> </a:t>
            </a:r>
          </a:p>
          <a:p>
            <a:r>
              <a:rPr lang="en-US" sz="2000" dirty="0">
                <a:solidFill>
                  <a:schemeClr val="bg1"/>
                </a:solidFill>
                <a:hlinkClick r:id="rId4"/>
              </a:rPr>
              <a:t>https://gotcosmos.com/architecture</a:t>
            </a:r>
            <a:r>
              <a:rPr lang="en-US" sz="2000" dirty="0">
                <a:solidFill>
                  <a:schemeClr val="bg1"/>
                </a:solidFill>
              </a:rPr>
              <a:t> </a:t>
            </a:r>
          </a:p>
        </p:txBody>
      </p:sp>
      <p:pic>
        <p:nvPicPr>
          <p:cNvPr id="10" name="Picture 9">
            <a:extLst>
              <a:ext uri="{FF2B5EF4-FFF2-40B4-BE49-F238E27FC236}">
                <a16:creationId xmlns:a16="http://schemas.microsoft.com/office/drawing/2014/main" id="{B5ECFAD7-14FA-48D7-8D19-A6CE0CD9602B}"/>
              </a:ext>
            </a:extLst>
          </p:cNvPr>
          <p:cNvPicPr>
            <a:picLocks noChangeAspect="1"/>
          </p:cNvPicPr>
          <p:nvPr/>
        </p:nvPicPr>
        <p:blipFill>
          <a:blip r:embed="rId5"/>
          <a:stretch>
            <a:fillRect/>
          </a:stretch>
        </p:blipFill>
        <p:spPr>
          <a:xfrm>
            <a:off x="2288511" y="1162069"/>
            <a:ext cx="6587331" cy="4988045"/>
          </a:xfrm>
          <a:prstGeom prst="rect">
            <a:avLst/>
          </a:prstGeom>
          <a:ln>
            <a:noFill/>
          </a:ln>
          <a:effectLst>
            <a:softEdge rad="112500"/>
          </a:effectLst>
        </p:spPr>
      </p:pic>
      <p:pic>
        <p:nvPicPr>
          <p:cNvPr id="8" name="Picture 7">
            <a:extLst>
              <a:ext uri="{FF2B5EF4-FFF2-40B4-BE49-F238E27FC236}">
                <a16:creationId xmlns:a16="http://schemas.microsoft.com/office/drawing/2014/main" id="{A6CE07FA-3C6A-4707-ADC7-48AC9F32887E}"/>
              </a:ext>
            </a:extLst>
          </p:cNvPr>
          <p:cNvPicPr>
            <a:picLocks noChangeAspect="1"/>
          </p:cNvPicPr>
          <p:nvPr/>
        </p:nvPicPr>
        <p:blipFill>
          <a:blip r:embed="rId6"/>
          <a:stretch>
            <a:fillRect/>
          </a:stretch>
        </p:blipFill>
        <p:spPr>
          <a:xfrm>
            <a:off x="563369" y="1273756"/>
            <a:ext cx="10037617" cy="4607873"/>
          </a:xfrm>
          <a:prstGeom prst="rect">
            <a:avLst/>
          </a:prstGeom>
          <a:ln>
            <a:noFill/>
          </a:ln>
          <a:effectLst>
            <a:softEdge rad="112500"/>
          </a:effectLst>
        </p:spPr>
      </p:pic>
    </p:spTree>
    <p:extLst>
      <p:ext uri="{BB962C8B-B14F-4D97-AF65-F5344CB8AC3E}">
        <p14:creationId xmlns:p14="http://schemas.microsoft.com/office/powerpoint/2010/main" val="174816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130-22BE-475D-B99E-58E522A4A65B}"/>
              </a:ext>
            </a:extLst>
          </p:cNvPr>
          <p:cNvSpPr>
            <a:spLocks noGrp="1"/>
          </p:cNvSpPr>
          <p:nvPr>
            <p:ph type="title"/>
          </p:nvPr>
        </p:nvSpPr>
        <p:spPr>
          <a:xfrm>
            <a:off x="337902" y="1024380"/>
            <a:ext cx="4483232" cy="5539257"/>
          </a:xfrm>
        </p:spPr>
        <p:txBody>
          <a:bodyPr/>
          <a:lstStyle/>
          <a:p>
            <a:pPr algn="ctr"/>
            <a:r>
              <a:rPr lang="en-US" sz="2800" dirty="0"/>
              <a:t>Azure Cosmos DB is a fully managed NoSQL database service for modern app development. Get guaranteed single-digit millisecond response times and 99.999-percent availability, backed by SLAs, automatic and instant scalability, and open-source APIs for MongoDB and Cassandra.</a:t>
            </a:r>
          </a:p>
        </p:txBody>
      </p:sp>
      <p:pic>
        <p:nvPicPr>
          <p:cNvPr id="3074" name="Picture 2" descr="Azure Cosmos DB is a fully managed NoSQL database for modern app development.">
            <a:extLst>
              <a:ext uri="{FF2B5EF4-FFF2-40B4-BE49-F238E27FC236}">
                <a16:creationId xmlns:a16="http://schemas.microsoft.com/office/drawing/2014/main" id="{09C83576-C39F-4DCC-AFF6-18108B95D4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8919" y="488515"/>
            <a:ext cx="7145399" cy="56805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511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130-22BE-475D-B99E-58E522A4A65B}"/>
              </a:ext>
            </a:extLst>
          </p:cNvPr>
          <p:cNvSpPr>
            <a:spLocks noGrp="1"/>
          </p:cNvSpPr>
          <p:nvPr>
            <p:ph type="title"/>
          </p:nvPr>
        </p:nvSpPr>
        <p:spPr/>
        <p:txBody>
          <a:bodyPr/>
          <a:lstStyle/>
          <a:p>
            <a:r>
              <a:rPr lang="en-US"/>
              <a:t>Resource model</a:t>
            </a:r>
          </a:p>
        </p:txBody>
      </p:sp>
      <p:pic>
        <p:nvPicPr>
          <p:cNvPr id="2050" name="Picture 2" descr="Azure Cosmos account entities">
            <a:extLst>
              <a:ext uri="{FF2B5EF4-FFF2-40B4-BE49-F238E27FC236}">
                <a16:creationId xmlns:a16="http://schemas.microsoft.com/office/drawing/2014/main" id="{AB6B9C7F-50CB-4565-B6B6-F025F561C7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763" y="1614272"/>
            <a:ext cx="11081177" cy="4934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56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Overview</a:t>
            </a:r>
          </a:p>
        </p:txBody>
      </p:sp>
      <p:sp>
        <p:nvSpPr>
          <p:cNvPr id="19" name="Rectangle: Rounded Corners 18">
            <a:extLst>
              <a:ext uri="{FF2B5EF4-FFF2-40B4-BE49-F238E27FC236}">
                <a16:creationId xmlns:a16="http://schemas.microsoft.com/office/drawing/2014/main" id="{FF6FA096-2E87-414F-BE78-401861A57550}"/>
              </a:ext>
            </a:extLst>
          </p:cNvPr>
          <p:cNvSpPr/>
          <p:nvPr/>
        </p:nvSpPr>
        <p:spPr>
          <a:xfrm>
            <a:off x="557490" y="2536078"/>
            <a:ext cx="1888177" cy="7362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ent App</a:t>
            </a:r>
          </a:p>
        </p:txBody>
      </p:sp>
      <p:cxnSp>
        <p:nvCxnSpPr>
          <p:cNvPr id="21" name="Straight Connector 20">
            <a:extLst>
              <a:ext uri="{FF2B5EF4-FFF2-40B4-BE49-F238E27FC236}">
                <a16:creationId xmlns:a16="http://schemas.microsoft.com/office/drawing/2014/main" id="{1995DA39-C151-4DF6-AE9B-5975328D1A33}"/>
              </a:ext>
            </a:extLst>
          </p:cNvPr>
          <p:cNvCxnSpPr>
            <a:cxnSpLocks/>
          </p:cNvCxnSpPr>
          <p:nvPr/>
        </p:nvCxnSpPr>
        <p:spPr bwMode="auto">
          <a:xfrm>
            <a:off x="3919017" y="1493838"/>
            <a:ext cx="0" cy="480393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Rectangle: Rounded Corners 21">
            <a:extLst>
              <a:ext uri="{FF2B5EF4-FFF2-40B4-BE49-F238E27FC236}">
                <a16:creationId xmlns:a16="http://schemas.microsoft.com/office/drawing/2014/main" id="{B752C090-2C96-4E27-BC4B-EF9FFA822A7D}"/>
              </a:ext>
            </a:extLst>
          </p:cNvPr>
          <p:cNvSpPr/>
          <p:nvPr/>
        </p:nvSpPr>
        <p:spPr>
          <a:xfrm>
            <a:off x="4302437" y="1543426"/>
            <a:ext cx="1531530" cy="439954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mos DB Gateway</a:t>
            </a:r>
          </a:p>
        </p:txBody>
      </p:sp>
      <p:sp>
        <p:nvSpPr>
          <p:cNvPr id="62" name="Cloud 61">
            <a:extLst>
              <a:ext uri="{FF2B5EF4-FFF2-40B4-BE49-F238E27FC236}">
                <a16:creationId xmlns:a16="http://schemas.microsoft.com/office/drawing/2014/main" id="{BB04EE29-A103-4869-AE48-60667D1C3F49}"/>
              </a:ext>
            </a:extLst>
          </p:cNvPr>
          <p:cNvSpPr/>
          <p:nvPr/>
        </p:nvSpPr>
        <p:spPr>
          <a:xfrm>
            <a:off x="2995106" y="6008914"/>
            <a:ext cx="1888177" cy="736270"/>
          </a:xfrm>
          <a:prstGeom prst="clou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zure</a:t>
            </a:r>
          </a:p>
        </p:txBody>
      </p:sp>
      <p:cxnSp>
        <p:nvCxnSpPr>
          <p:cNvPr id="69" name="Straight Arrow Connector 68">
            <a:extLst>
              <a:ext uri="{FF2B5EF4-FFF2-40B4-BE49-F238E27FC236}">
                <a16:creationId xmlns:a16="http://schemas.microsoft.com/office/drawing/2014/main" id="{2C399A27-654B-408A-8801-5B52B70952B5}"/>
              </a:ext>
            </a:extLst>
          </p:cNvPr>
          <p:cNvCxnSpPr>
            <a:cxnSpLocks/>
          </p:cNvCxnSpPr>
          <p:nvPr/>
        </p:nvCxnSpPr>
        <p:spPr>
          <a:xfrm>
            <a:off x="2690580" y="2838203"/>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4" name="Straight Arrow Connector 73">
            <a:extLst>
              <a:ext uri="{FF2B5EF4-FFF2-40B4-BE49-F238E27FC236}">
                <a16:creationId xmlns:a16="http://schemas.microsoft.com/office/drawing/2014/main" id="{E4D7171D-8D77-4831-AB91-833B1E4F0AB9}"/>
              </a:ext>
            </a:extLst>
          </p:cNvPr>
          <p:cNvCxnSpPr>
            <a:cxnSpLocks/>
          </p:cNvCxnSpPr>
          <p:nvPr/>
        </p:nvCxnSpPr>
        <p:spPr>
          <a:xfrm>
            <a:off x="5934982" y="2835608"/>
            <a:ext cx="1644623"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7" name="Straight Arrow Connector 76">
            <a:extLst>
              <a:ext uri="{FF2B5EF4-FFF2-40B4-BE49-F238E27FC236}">
                <a16:creationId xmlns:a16="http://schemas.microsoft.com/office/drawing/2014/main" id="{96CC1A42-81F1-4739-82A8-AF0EDCF0DABE}"/>
              </a:ext>
            </a:extLst>
          </p:cNvPr>
          <p:cNvCxnSpPr>
            <a:cxnSpLocks/>
          </p:cNvCxnSpPr>
          <p:nvPr/>
        </p:nvCxnSpPr>
        <p:spPr>
          <a:xfrm flipH="1">
            <a:off x="5917009" y="2967259"/>
            <a:ext cx="1662596"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84" name="Straight Arrow Connector 83">
            <a:extLst>
              <a:ext uri="{FF2B5EF4-FFF2-40B4-BE49-F238E27FC236}">
                <a16:creationId xmlns:a16="http://schemas.microsoft.com/office/drawing/2014/main" id="{FD23EC15-3B8E-4430-9AD7-22547557E748}"/>
              </a:ext>
            </a:extLst>
          </p:cNvPr>
          <p:cNvCxnSpPr>
            <a:cxnSpLocks/>
          </p:cNvCxnSpPr>
          <p:nvPr/>
        </p:nvCxnSpPr>
        <p:spPr>
          <a:xfrm flipH="1">
            <a:off x="2690580" y="2978728"/>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44" name="Rectangle: Rounded Corners 43">
            <a:extLst>
              <a:ext uri="{FF2B5EF4-FFF2-40B4-BE49-F238E27FC236}">
                <a16:creationId xmlns:a16="http://schemas.microsoft.com/office/drawing/2014/main" id="{9C701077-6970-92B4-569B-C48FDC4A8119}"/>
              </a:ext>
            </a:extLst>
          </p:cNvPr>
          <p:cNvSpPr/>
          <p:nvPr/>
        </p:nvSpPr>
        <p:spPr>
          <a:xfrm>
            <a:off x="7767455" y="1493838"/>
            <a:ext cx="1531530" cy="439954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mos DB Backend</a:t>
            </a:r>
          </a:p>
        </p:txBody>
      </p:sp>
      <p:sp>
        <p:nvSpPr>
          <p:cNvPr id="7" name="Cylinder 6">
            <a:extLst>
              <a:ext uri="{FF2B5EF4-FFF2-40B4-BE49-F238E27FC236}">
                <a16:creationId xmlns:a16="http://schemas.microsoft.com/office/drawing/2014/main" id="{0A9B0B5B-CCAD-F7AD-37CA-5E6A49133B22}"/>
              </a:ext>
            </a:extLst>
          </p:cNvPr>
          <p:cNvSpPr/>
          <p:nvPr/>
        </p:nvSpPr>
        <p:spPr>
          <a:xfrm>
            <a:off x="8916640" y="4075095"/>
            <a:ext cx="1531528" cy="2309669"/>
          </a:xfrm>
          <a:prstGeom prst="can">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 name="Flowchart: Magnetic Disk 9">
            <a:extLst>
              <a:ext uri="{FF2B5EF4-FFF2-40B4-BE49-F238E27FC236}">
                <a16:creationId xmlns:a16="http://schemas.microsoft.com/office/drawing/2014/main" id="{15BEBA33-8A2F-73DA-9DBB-979FBB26A8C1}"/>
              </a:ext>
            </a:extLst>
          </p:cNvPr>
          <p:cNvSpPr/>
          <p:nvPr/>
        </p:nvSpPr>
        <p:spPr bwMode="auto">
          <a:xfrm>
            <a:off x="9104160" y="5611049"/>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3</a:t>
            </a:r>
          </a:p>
        </p:txBody>
      </p:sp>
      <p:sp>
        <p:nvSpPr>
          <p:cNvPr id="8" name="Flowchart: Magnetic Disk 7">
            <a:extLst>
              <a:ext uri="{FF2B5EF4-FFF2-40B4-BE49-F238E27FC236}">
                <a16:creationId xmlns:a16="http://schemas.microsoft.com/office/drawing/2014/main" id="{FB5B3BBF-F693-CF6E-2AC7-B7927C4427BD}"/>
              </a:ext>
            </a:extLst>
          </p:cNvPr>
          <p:cNvSpPr/>
          <p:nvPr/>
        </p:nvSpPr>
        <p:spPr bwMode="auto">
          <a:xfrm>
            <a:off x="9102353" y="5128377"/>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2</a:t>
            </a:r>
          </a:p>
        </p:txBody>
      </p:sp>
      <p:sp>
        <p:nvSpPr>
          <p:cNvPr id="26" name="Flowchart: Magnetic Disk 25">
            <a:extLst>
              <a:ext uri="{FF2B5EF4-FFF2-40B4-BE49-F238E27FC236}">
                <a16:creationId xmlns:a16="http://schemas.microsoft.com/office/drawing/2014/main" id="{273290DA-309D-4C0A-B968-000840071FFC}"/>
              </a:ext>
            </a:extLst>
          </p:cNvPr>
          <p:cNvSpPr/>
          <p:nvPr/>
        </p:nvSpPr>
        <p:spPr bwMode="auto">
          <a:xfrm>
            <a:off x="9102353" y="4638514"/>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1</a:t>
            </a:r>
          </a:p>
        </p:txBody>
      </p:sp>
      <p:sp>
        <p:nvSpPr>
          <p:cNvPr id="11" name="Flowchart: Magnetic Disk 10">
            <a:extLst>
              <a:ext uri="{FF2B5EF4-FFF2-40B4-BE49-F238E27FC236}">
                <a16:creationId xmlns:a16="http://schemas.microsoft.com/office/drawing/2014/main" id="{CF6472C1-8197-BBD1-B5B9-085639310485}"/>
              </a:ext>
            </a:extLst>
          </p:cNvPr>
          <p:cNvSpPr/>
          <p:nvPr/>
        </p:nvSpPr>
        <p:spPr bwMode="auto">
          <a:xfrm>
            <a:off x="9746043" y="5607227"/>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6</a:t>
            </a:r>
          </a:p>
        </p:txBody>
      </p:sp>
      <p:sp>
        <p:nvSpPr>
          <p:cNvPr id="12" name="Flowchart: Magnetic Disk 11">
            <a:extLst>
              <a:ext uri="{FF2B5EF4-FFF2-40B4-BE49-F238E27FC236}">
                <a16:creationId xmlns:a16="http://schemas.microsoft.com/office/drawing/2014/main" id="{953E96AD-07CB-0BDB-03C1-5768D0F6FA8B}"/>
              </a:ext>
            </a:extLst>
          </p:cNvPr>
          <p:cNvSpPr/>
          <p:nvPr/>
        </p:nvSpPr>
        <p:spPr bwMode="auto">
          <a:xfrm>
            <a:off x="9744236" y="5124555"/>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5</a:t>
            </a:r>
          </a:p>
        </p:txBody>
      </p:sp>
      <p:sp>
        <p:nvSpPr>
          <p:cNvPr id="13" name="Flowchart: Magnetic Disk 12">
            <a:extLst>
              <a:ext uri="{FF2B5EF4-FFF2-40B4-BE49-F238E27FC236}">
                <a16:creationId xmlns:a16="http://schemas.microsoft.com/office/drawing/2014/main" id="{510208BF-B22B-6C86-F37A-0EB21609612E}"/>
              </a:ext>
            </a:extLst>
          </p:cNvPr>
          <p:cNvSpPr/>
          <p:nvPr/>
        </p:nvSpPr>
        <p:spPr bwMode="auto">
          <a:xfrm>
            <a:off x="9744236" y="4634692"/>
            <a:ext cx="514645" cy="591416"/>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rgbClr val="D9D9D9"/>
                </a:solidFill>
                <a:effectLst/>
                <a:latin typeface="Segoe UI" pitchFamily="34" charset="0"/>
                <a:cs typeface="Arial" charset="0"/>
              </a:rPr>
              <a:t>P4</a:t>
            </a:r>
          </a:p>
        </p:txBody>
      </p:sp>
    </p:spTree>
    <p:extLst>
      <p:ext uri="{BB962C8B-B14F-4D97-AF65-F5344CB8AC3E}">
        <p14:creationId xmlns:p14="http://schemas.microsoft.com/office/powerpoint/2010/main" val="239045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5376F-A0DD-4803-B586-4ABB49308E71}"/>
              </a:ext>
            </a:extLst>
          </p:cNvPr>
          <p:cNvSpPr>
            <a:spLocks noGrp="1"/>
          </p:cNvSpPr>
          <p:nvPr>
            <p:ph type="title"/>
          </p:nvPr>
        </p:nvSpPr>
        <p:spPr/>
        <p:txBody>
          <a:bodyPr/>
          <a:lstStyle/>
          <a:p>
            <a:r>
              <a:rPr lang="en-US" dirty="0"/>
              <a:t>SDK</a:t>
            </a:r>
          </a:p>
        </p:txBody>
      </p:sp>
    </p:spTree>
    <p:extLst>
      <p:ext uri="{BB962C8B-B14F-4D97-AF65-F5344CB8AC3E}">
        <p14:creationId xmlns:p14="http://schemas.microsoft.com/office/powerpoint/2010/main" val="285543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SDK + Service interaction</a:t>
            </a:r>
          </a:p>
        </p:txBody>
      </p:sp>
      <p:sp>
        <p:nvSpPr>
          <p:cNvPr id="19" name="Rectangle: Rounded Corners 18">
            <a:extLst>
              <a:ext uri="{FF2B5EF4-FFF2-40B4-BE49-F238E27FC236}">
                <a16:creationId xmlns:a16="http://schemas.microsoft.com/office/drawing/2014/main" id="{FF6FA096-2E87-414F-BE78-401861A57550}"/>
              </a:ext>
            </a:extLst>
          </p:cNvPr>
          <p:cNvSpPr/>
          <p:nvPr/>
        </p:nvSpPr>
        <p:spPr>
          <a:xfrm>
            <a:off x="308758" y="1603170"/>
            <a:ext cx="1888177" cy="7362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lient App</a:t>
            </a:r>
          </a:p>
        </p:txBody>
      </p:sp>
      <p:cxnSp>
        <p:nvCxnSpPr>
          <p:cNvPr id="21" name="Straight Connector 20">
            <a:extLst>
              <a:ext uri="{FF2B5EF4-FFF2-40B4-BE49-F238E27FC236}">
                <a16:creationId xmlns:a16="http://schemas.microsoft.com/office/drawing/2014/main" id="{1995DA39-C151-4DF6-AE9B-5975328D1A33}"/>
              </a:ext>
            </a:extLst>
          </p:cNvPr>
          <p:cNvCxnSpPr>
            <a:cxnSpLocks/>
          </p:cNvCxnSpPr>
          <p:nvPr/>
        </p:nvCxnSpPr>
        <p:spPr bwMode="auto">
          <a:xfrm>
            <a:off x="3919017" y="1493838"/>
            <a:ext cx="0" cy="480393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Rectangle: Rounded Corners 21">
            <a:extLst>
              <a:ext uri="{FF2B5EF4-FFF2-40B4-BE49-F238E27FC236}">
                <a16:creationId xmlns:a16="http://schemas.microsoft.com/office/drawing/2014/main" id="{B752C090-2C96-4E27-BC4B-EF9FFA822A7D}"/>
              </a:ext>
            </a:extLst>
          </p:cNvPr>
          <p:cNvSpPr/>
          <p:nvPr/>
        </p:nvSpPr>
        <p:spPr>
          <a:xfrm>
            <a:off x="4302437" y="1543426"/>
            <a:ext cx="1531530" cy="439954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mos DB Gateway</a:t>
            </a:r>
          </a:p>
        </p:txBody>
      </p:sp>
      <p:sp>
        <p:nvSpPr>
          <p:cNvPr id="26" name="Flowchart: Magnetic Disk 25">
            <a:extLst>
              <a:ext uri="{FF2B5EF4-FFF2-40B4-BE49-F238E27FC236}">
                <a16:creationId xmlns:a16="http://schemas.microsoft.com/office/drawing/2014/main" id="{273290DA-309D-4C0A-B968-000840071FFC}"/>
              </a:ext>
            </a:extLst>
          </p:cNvPr>
          <p:cNvSpPr/>
          <p:nvPr/>
        </p:nvSpPr>
        <p:spPr bwMode="auto">
          <a:xfrm>
            <a:off x="9280446" y="247902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1</a:t>
            </a:r>
          </a:p>
        </p:txBody>
      </p:sp>
      <p:sp>
        <p:nvSpPr>
          <p:cNvPr id="28" name="Flowchart: Magnetic Disk 27">
            <a:extLst>
              <a:ext uri="{FF2B5EF4-FFF2-40B4-BE49-F238E27FC236}">
                <a16:creationId xmlns:a16="http://schemas.microsoft.com/office/drawing/2014/main" id="{4A1F37AA-7639-4175-9F96-ED013B084D5D}"/>
              </a:ext>
            </a:extLst>
          </p:cNvPr>
          <p:cNvSpPr/>
          <p:nvPr/>
        </p:nvSpPr>
        <p:spPr bwMode="auto">
          <a:xfrm>
            <a:off x="9014798" y="419858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b="1">
                <a:solidFill>
                  <a:srgbClr val="D9D9D9"/>
                </a:solidFill>
                <a:latin typeface="Segoe UI" pitchFamily="34" charset="0"/>
                <a:cs typeface="Arial" charset="0"/>
              </a:rPr>
              <a:t>P2</a:t>
            </a:r>
            <a:endParaRPr kumimoji="0" lang="en-US" b="1" i="0" u="none" strike="noStrike" cap="none" normalizeH="0" baseline="0">
              <a:ln>
                <a:noFill/>
              </a:ln>
              <a:solidFill>
                <a:srgbClr val="D9D9D9"/>
              </a:solidFill>
              <a:effectLst/>
              <a:latin typeface="Segoe UI" pitchFamily="34" charset="0"/>
              <a:cs typeface="Arial" charset="0"/>
            </a:endParaRPr>
          </a:p>
        </p:txBody>
      </p:sp>
      <p:sp>
        <p:nvSpPr>
          <p:cNvPr id="29" name="Flowchart: Magnetic Disk 28">
            <a:extLst>
              <a:ext uri="{FF2B5EF4-FFF2-40B4-BE49-F238E27FC236}">
                <a16:creationId xmlns:a16="http://schemas.microsoft.com/office/drawing/2014/main" id="{B3911A2B-9095-4180-91D8-A0FA01EF8B4F}"/>
              </a:ext>
            </a:extLst>
          </p:cNvPr>
          <p:cNvSpPr/>
          <p:nvPr/>
        </p:nvSpPr>
        <p:spPr bwMode="auto">
          <a:xfrm>
            <a:off x="9617747" y="4529548"/>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3</a:t>
            </a:r>
          </a:p>
        </p:txBody>
      </p:sp>
      <p:sp>
        <p:nvSpPr>
          <p:cNvPr id="32" name="Flowchart: Magnetic Disk 31">
            <a:extLst>
              <a:ext uri="{FF2B5EF4-FFF2-40B4-BE49-F238E27FC236}">
                <a16:creationId xmlns:a16="http://schemas.microsoft.com/office/drawing/2014/main" id="{2BD0A379-6FA4-44B4-8CBD-7AE98FE78F43}"/>
              </a:ext>
            </a:extLst>
          </p:cNvPr>
          <p:cNvSpPr/>
          <p:nvPr/>
        </p:nvSpPr>
        <p:spPr bwMode="auto">
          <a:xfrm>
            <a:off x="10220696" y="494530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4</a:t>
            </a:r>
          </a:p>
        </p:txBody>
      </p:sp>
      <p:sp>
        <p:nvSpPr>
          <p:cNvPr id="57" name="Flowchart: Magnetic Disk 56">
            <a:extLst>
              <a:ext uri="{FF2B5EF4-FFF2-40B4-BE49-F238E27FC236}">
                <a16:creationId xmlns:a16="http://schemas.microsoft.com/office/drawing/2014/main" id="{1C6AF795-0B4D-4070-86F0-A3785AB24106}"/>
              </a:ext>
            </a:extLst>
          </p:cNvPr>
          <p:cNvSpPr/>
          <p:nvPr/>
        </p:nvSpPr>
        <p:spPr bwMode="auto">
          <a:xfrm>
            <a:off x="10220696" y="3559770"/>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D9D9D9"/>
                </a:solidFill>
                <a:effectLst/>
                <a:latin typeface="Segoe UI" pitchFamily="34" charset="0"/>
                <a:cs typeface="Arial" charset="0"/>
              </a:rPr>
              <a:t>S</a:t>
            </a: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61" name="Flowchart: Magnetic Disk 60">
            <a:extLst>
              <a:ext uri="{FF2B5EF4-FFF2-40B4-BE49-F238E27FC236}">
                <a16:creationId xmlns:a16="http://schemas.microsoft.com/office/drawing/2014/main" id="{02495E9B-0117-4D57-B8DA-AAF348677163}"/>
              </a:ext>
            </a:extLst>
          </p:cNvPr>
          <p:cNvSpPr/>
          <p:nvPr/>
        </p:nvSpPr>
        <p:spPr bwMode="auto">
          <a:xfrm>
            <a:off x="10648401" y="3579066"/>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sz="1200" b="1">
                <a:solidFill>
                  <a:srgbClr val="D9D9D9"/>
                </a:solidFill>
                <a:latin typeface="Segoe UI" pitchFamily="34" charset="0"/>
                <a:cs typeface="Arial" charset="0"/>
              </a:rPr>
              <a:t>F</a:t>
            </a:r>
            <a:endParaRPr kumimoji="0" lang="en-US" sz="1200" b="1" i="0" u="none" strike="noStrike" cap="none" normalizeH="0" baseline="0">
              <a:ln>
                <a:noFill/>
              </a:ln>
              <a:solidFill>
                <a:srgbClr val="D9D9D9"/>
              </a:solidFill>
              <a:effectLst/>
              <a:latin typeface="Segoe UI" pitchFamily="34" charset="0"/>
              <a:cs typeface="Arial" charset="0"/>
            </a:endParaRP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43" name="Flowchart: Magnetic Disk 42">
            <a:extLst>
              <a:ext uri="{FF2B5EF4-FFF2-40B4-BE49-F238E27FC236}">
                <a16:creationId xmlns:a16="http://schemas.microsoft.com/office/drawing/2014/main" id="{C297AFA7-93BF-4967-BDB2-DD33905427A6}"/>
              </a:ext>
            </a:extLst>
          </p:cNvPr>
          <p:cNvSpPr/>
          <p:nvPr/>
        </p:nvSpPr>
        <p:spPr bwMode="auto">
          <a:xfrm>
            <a:off x="10222699" y="3221857"/>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sz="1200" b="1">
                <a:solidFill>
                  <a:srgbClr val="D9D9D9"/>
                </a:solidFill>
                <a:latin typeface="Segoe UI" pitchFamily="34" charset="0"/>
                <a:cs typeface="Arial" charset="0"/>
              </a:rPr>
              <a:t>P</a:t>
            </a:r>
            <a:endParaRPr kumimoji="0" lang="en-US" sz="1200" b="1" i="0" u="none" strike="noStrike" cap="none" normalizeH="0" baseline="0">
              <a:ln>
                <a:noFill/>
              </a:ln>
              <a:solidFill>
                <a:srgbClr val="D9D9D9"/>
              </a:solidFill>
              <a:effectLst/>
              <a:latin typeface="Segoe UI" pitchFamily="34" charset="0"/>
              <a:cs typeface="Arial" charset="0"/>
            </a:endParaRP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59" name="Flowchart: Magnetic Disk 58">
            <a:extLst>
              <a:ext uri="{FF2B5EF4-FFF2-40B4-BE49-F238E27FC236}">
                <a16:creationId xmlns:a16="http://schemas.microsoft.com/office/drawing/2014/main" id="{21E40231-F3C0-447A-AFC0-623056652003}"/>
              </a:ext>
            </a:extLst>
          </p:cNvPr>
          <p:cNvSpPr/>
          <p:nvPr/>
        </p:nvSpPr>
        <p:spPr bwMode="auto">
          <a:xfrm>
            <a:off x="10648401" y="3221857"/>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D9D9D9"/>
                </a:solidFill>
                <a:effectLst/>
                <a:latin typeface="Segoe UI" pitchFamily="34" charset="0"/>
                <a:cs typeface="Arial" charset="0"/>
              </a:rPr>
              <a:t>S</a:t>
            </a: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62" name="Cloud 61">
            <a:extLst>
              <a:ext uri="{FF2B5EF4-FFF2-40B4-BE49-F238E27FC236}">
                <a16:creationId xmlns:a16="http://schemas.microsoft.com/office/drawing/2014/main" id="{BB04EE29-A103-4869-AE48-60667D1C3F49}"/>
              </a:ext>
            </a:extLst>
          </p:cNvPr>
          <p:cNvSpPr/>
          <p:nvPr/>
        </p:nvSpPr>
        <p:spPr>
          <a:xfrm>
            <a:off x="2995106" y="6008914"/>
            <a:ext cx="1888177" cy="736270"/>
          </a:xfrm>
          <a:prstGeom prst="clou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zure</a:t>
            </a:r>
          </a:p>
        </p:txBody>
      </p:sp>
      <p:sp>
        <p:nvSpPr>
          <p:cNvPr id="64" name="Flowchart: Magnetic Disk 63">
            <a:extLst>
              <a:ext uri="{FF2B5EF4-FFF2-40B4-BE49-F238E27FC236}">
                <a16:creationId xmlns:a16="http://schemas.microsoft.com/office/drawing/2014/main" id="{EEBA5BCD-4BCC-4615-A7F1-B9885BC31449}"/>
              </a:ext>
            </a:extLst>
          </p:cNvPr>
          <p:cNvSpPr/>
          <p:nvPr/>
        </p:nvSpPr>
        <p:spPr bwMode="auto">
          <a:xfrm>
            <a:off x="9280446" y="702338"/>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Master</a:t>
            </a:r>
          </a:p>
        </p:txBody>
      </p:sp>
      <p:sp>
        <p:nvSpPr>
          <p:cNvPr id="67" name="TextBox 66">
            <a:extLst>
              <a:ext uri="{FF2B5EF4-FFF2-40B4-BE49-F238E27FC236}">
                <a16:creationId xmlns:a16="http://schemas.microsoft.com/office/drawing/2014/main" id="{D1C1BC2F-0892-457E-B2A3-FAE754558B62}"/>
              </a:ext>
            </a:extLst>
          </p:cNvPr>
          <p:cNvSpPr txBox="1"/>
          <p:nvPr/>
        </p:nvSpPr>
        <p:spPr>
          <a:xfrm>
            <a:off x="218428" y="2588205"/>
            <a:ext cx="3493147" cy="3354765"/>
          </a:xfrm>
          <a:prstGeom prst="rect">
            <a:avLst/>
          </a:prstGeom>
          <a:noFill/>
        </p:spPr>
        <p:txBody>
          <a:bodyPr wrap="square" rtlCol="0">
            <a:spAutoFit/>
          </a:bodyPr>
          <a:lstStyle/>
          <a:p>
            <a:r>
              <a:rPr lang="en-US" sz="1600" dirty="0">
                <a:solidFill>
                  <a:schemeClr val="bg1"/>
                </a:solidFill>
              </a:rPr>
              <a:t>New </a:t>
            </a:r>
            <a:r>
              <a:rPr lang="en-US" sz="1600" dirty="0" err="1">
                <a:solidFill>
                  <a:schemeClr val="bg1"/>
                </a:solidFill>
              </a:rPr>
              <a:t>CosmosClient</a:t>
            </a:r>
            <a:r>
              <a:rPr lang="en-US" sz="1600" dirty="0">
                <a:solidFill>
                  <a:schemeClr val="bg1"/>
                </a:solidFill>
              </a:rPr>
              <a:t>()</a:t>
            </a:r>
          </a:p>
          <a:p>
            <a:endParaRPr lang="en-US" sz="1600" dirty="0">
              <a:solidFill>
                <a:schemeClr val="bg1"/>
              </a:solidFill>
            </a:endParaRPr>
          </a:p>
          <a:p>
            <a:r>
              <a:rPr lang="en-US" sz="1600" dirty="0">
                <a:solidFill>
                  <a:schemeClr val="bg1"/>
                </a:solidFill>
              </a:rPr>
              <a:t>… </a:t>
            </a:r>
            <a:r>
              <a:rPr lang="en-US" sz="1600" dirty="0" err="1">
                <a:solidFill>
                  <a:schemeClr val="bg1"/>
                </a:solidFill>
              </a:rPr>
              <a:t>GlobalEndpointManager</a:t>
            </a:r>
            <a:endParaRPr lang="en-US" sz="1600" dirty="0">
              <a:solidFill>
                <a:schemeClr val="bg1"/>
              </a:solidFill>
            </a:endParaRPr>
          </a:p>
          <a:p>
            <a:r>
              <a:rPr lang="en-US" sz="1600" dirty="0">
                <a:solidFill>
                  <a:schemeClr val="bg1"/>
                </a:solidFill>
              </a:rPr>
              <a:t>… </a:t>
            </a:r>
            <a:r>
              <a:rPr lang="en-US" sz="1600" dirty="0" err="1">
                <a:solidFill>
                  <a:schemeClr val="bg1"/>
                </a:solidFill>
              </a:rPr>
              <a:t>PartititionMap</a:t>
            </a:r>
            <a:endParaRPr lang="en-US" sz="1600" dirty="0">
              <a:solidFill>
                <a:schemeClr val="bg1"/>
              </a:solidFill>
            </a:endParaRPr>
          </a:p>
          <a:p>
            <a:endParaRPr lang="en-US" sz="1600" dirty="0">
              <a:solidFill>
                <a:schemeClr val="bg1"/>
              </a:solidFill>
            </a:endParaRPr>
          </a:p>
          <a:p>
            <a:r>
              <a:rPr lang="en-US" sz="1200" dirty="0">
                <a:solidFill>
                  <a:schemeClr val="bg1"/>
                </a:solidFill>
                <a:hlinkClick r:id="rId3"/>
              </a:rPr>
              <a:t>https://github.com/Azure/azure-cosmos-dotnet-v3/tree/master/Microsoft.Azure.Cosmos/src/Routing</a:t>
            </a:r>
            <a:r>
              <a:rPr lang="en-US" sz="1200" dirty="0">
                <a:solidFill>
                  <a:schemeClr val="bg1"/>
                </a:solidFill>
              </a:rPr>
              <a:t> </a:t>
            </a:r>
          </a:p>
          <a:p>
            <a:endParaRPr lang="en-US" sz="1600" dirty="0">
              <a:solidFill>
                <a:schemeClr val="bg1"/>
              </a:solidFill>
            </a:endParaRPr>
          </a:p>
          <a:p>
            <a:r>
              <a:rPr lang="en-US" sz="1600" dirty="0" err="1">
                <a:solidFill>
                  <a:schemeClr val="bg1"/>
                </a:solidFill>
              </a:rPr>
              <a:t>ReadItemAsync</a:t>
            </a:r>
            <a:r>
              <a:rPr lang="en-US" sz="1600" dirty="0">
                <a:solidFill>
                  <a:schemeClr val="bg1"/>
                </a:solidFill>
              </a:rPr>
              <a:t>()</a:t>
            </a:r>
          </a:p>
          <a:p>
            <a:endParaRPr lang="en-US" sz="1600" dirty="0">
              <a:solidFill>
                <a:schemeClr val="bg1"/>
              </a:solidFill>
            </a:endParaRPr>
          </a:p>
          <a:p>
            <a:r>
              <a:rPr lang="en-US" sz="1600" dirty="0">
                <a:solidFill>
                  <a:schemeClr val="bg1"/>
                </a:solidFill>
              </a:rPr>
              <a:t>Cross Partition Query</a:t>
            </a:r>
          </a:p>
          <a:p>
            <a:endParaRPr lang="en-US" sz="1600" dirty="0">
              <a:solidFill>
                <a:schemeClr val="bg1"/>
              </a:solidFill>
            </a:endParaRPr>
          </a:p>
          <a:p>
            <a:r>
              <a:rPr lang="en-US" sz="1600" dirty="0">
                <a:solidFill>
                  <a:schemeClr val="bg1"/>
                </a:solidFill>
              </a:rPr>
              <a:t>Insert Item</a:t>
            </a:r>
          </a:p>
        </p:txBody>
      </p:sp>
      <p:cxnSp>
        <p:nvCxnSpPr>
          <p:cNvPr id="69" name="Straight Arrow Connector 68">
            <a:extLst>
              <a:ext uri="{FF2B5EF4-FFF2-40B4-BE49-F238E27FC236}">
                <a16:creationId xmlns:a16="http://schemas.microsoft.com/office/drawing/2014/main" id="{2C399A27-654B-408A-8801-5B52B70952B5}"/>
              </a:ext>
            </a:extLst>
          </p:cNvPr>
          <p:cNvCxnSpPr>
            <a:cxnSpLocks/>
          </p:cNvCxnSpPr>
          <p:nvPr/>
        </p:nvCxnSpPr>
        <p:spPr>
          <a:xfrm>
            <a:off x="2690580" y="2838203"/>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4" name="Straight Arrow Connector 73">
            <a:extLst>
              <a:ext uri="{FF2B5EF4-FFF2-40B4-BE49-F238E27FC236}">
                <a16:creationId xmlns:a16="http://schemas.microsoft.com/office/drawing/2014/main" id="{E4D7171D-8D77-4831-AB91-833B1E4F0AB9}"/>
              </a:ext>
            </a:extLst>
          </p:cNvPr>
          <p:cNvCxnSpPr>
            <a:cxnSpLocks/>
          </p:cNvCxnSpPr>
          <p:nvPr/>
        </p:nvCxnSpPr>
        <p:spPr>
          <a:xfrm flipV="1">
            <a:off x="5989941" y="1211283"/>
            <a:ext cx="3130308" cy="1102428"/>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7" name="Straight Arrow Connector 76">
            <a:extLst>
              <a:ext uri="{FF2B5EF4-FFF2-40B4-BE49-F238E27FC236}">
                <a16:creationId xmlns:a16="http://schemas.microsoft.com/office/drawing/2014/main" id="{96CC1A42-81F1-4739-82A8-AF0EDCF0DABE}"/>
              </a:ext>
            </a:extLst>
          </p:cNvPr>
          <p:cNvCxnSpPr>
            <a:cxnSpLocks/>
          </p:cNvCxnSpPr>
          <p:nvPr/>
        </p:nvCxnSpPr>
        <p:spPr>
          <a:xfrm flipH="1">
            <a:off x="6050689" y="1424121"/>
            <a:ext cx="3024249" cy="109436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82" name="TextBox 81">
            <a:extLst>
              <a:ext uri="{FF2B5EF4-FFF2-40B4-BE49-F238E27FC236}">
                <a16:creationId xmlns:a16="http://schemas.microsoft.com/office/drawing/2014/main" id="{E4CF63DD-3785-4C42-85D0-E2EA9B5DF47D}"/>
              </a:ext>
            </a:extLst>
          </p:cNvPr>
          <p:cNvSpPr txBox="1"/>
          <p:nvPr/>
        </p:nvSpPr>
        <p:spPr>
          <a:xfrm>
            <a:off x="6621389" y="2287065"/>
            <a:ext cx="2068195" cy="338554"/>
          </a:xfrm>
          <a:prstGeom prst="rect">
            <a:avLst/>
          </a:prstGeom>
          <a:noFill/>
        </p:spPr>
        <p:txBody>
          <a:bodyPr wrap="none" rtlCol="0">
            <a:spAutoFit/>
          </a:bodyPr>
          <a:lstStyle/>
          <a:p>
            <a:r>
              <a:rPr lang="en-US" sz="1600">
                <a:solidFill>
                  <a:schemeClr val="bg1"/>
                </a:solidFill>
              </a:rPr>
              <a:t>Metadata operations</a:t>
            </a:r>
          </a:p>
        </p:txBody>
      </p:sp>
      <p:cxnSp>
        <p:nvCxnSpPr>
          <p:cNvPr id="84" name="Straight Arrow Connector 83">
            <a:extLst>
              <a:ext uri="{FF2B5EF4-FFF2-40B4-BE49-F238E27FC236}">
                <a16:creationId xmlns:a16="http://schemas.microsoft.com/office/drawing/2014/main" id="{FD23EC15-3B8E-4430-9AD7-22547557E748}"/>
              </a:ext>
            </a:extLst>
          </p:cNvPr>
          <p:cNvCxnSpPr>
            <a:cxnSpLocks/>
          </p:cNvCxnSpPr>
          <p:nvPr/>
        </p:nvCxnSpPr>
        <p:spPr>
          <a:xfrm flipH="1">
            <a:off x="2690580" y="2978728"/>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88" name="Straight Arrow Connector 87">
            <a:extLst>
              <a:ext uri="{FF2B5EF4-FFF2-40B4-BE49-F238E27FC236}">
                <a16:creationId xmlns:a16="http://schemas.microsoft.com/office/drawing/2014/main" id="{87853C80-601C-4B4D-B794-CD787D93A0F3}"/>
              </a:ext>
            </a:extLst>
          </p:cNvPr>
          <p:cNvCxnSpPr>
            <a:cxnSpLocks/>
          </p:cNvCxnSpPr>
          <p:nvPr/>
        </p:nvCxnSpPr>
        <p:spPr>
          <a:xfrm flipV="1">
            <a:off x="5962461" y="3329121"/>
            <a:ext cx="3185267" cy="49588"/>
          </a:xfrm>
          <a:prstGeom prst="straightConnector1">
            <a:avLst/>
          </a:prstGeom>
          <a:ln>
            <a:solidFill>
              <a:srgbClr val="FFFF00"/>
            </a:solidFill>
            <a:tailEnd type="triangle"/>
          </a:ln>
        </p:spPr>
        <p:style>
          <a:lnRef idx="3">
            <a:schemeClr val="accent1"/>
          </a:lnRef>
          <a:fillRef idx="0">
            <a:schemeClr val="accent1"/>
          </a:fillRef>
          <a:effectRef idx="2">
            <a:schemeClr val="accent1"/>
          </a:effectRef>
          <a:fontRef idx="minor">
            <a:schemeClr val="tx1"/>
          </a:fontRef>
        </p:style>
      </p:cxnSp>
      <p:cxnSp>
        <p:nvCxnSpPr>
          <p:cNvPr id="91" name="Straight Arrow Connector 90">
            <a:extLst>
              <a:ext uri="{FF2B5EF4-FFF2-40B4-BE49-F238E27FC236}">
                <a16:creationId xmlns:a16="http://schemas.microsoft.com/office/drawing/2014/main" id="{D6A97BC3-E873-43CE-A820-9ECB7AAEC5EA}"/>
              </a:ext>
            </a:extLst>
          </p:cNvPr>
          <p:cNvCxnSpPr>
            <a:cxnSpLocks/>
          </p:cNvCxnSpPr>
          <p:nvPr/>
        </p:nvCxnSpPr>
        <p:spPr>
          <a:xfrm>
            <a:off x="2690580" y="4748151"/>
            <a:ext cx="1453908" cy="0"/>
          </a:xfrm>
          <a:prstGeom prst="straightConnector1">
            <a:avLst/>
          </a:prstGeom>
          <a:ln>
            <a:solidFill>
              <a:srgbClr val="FFFF00"/>
            </a:solidFill>
            <a:tailEnd type="triangle"/>
          </a:ln>
        </p:spPr>
        <p:style>
          <a:lnRef idx="3">
            <a:schemeClr val="accent3"/>
          </a:lnRef>
          <a:fillRef idx="0">
            <a:schemeClr val="accent3"/>
          </a:fillRef>
          <a:effectRef idx="2">
            <a:schemeClr val="accent3"/>
          </a:effectRef>
          <a:fontRef idx="minor">
            <a:schemeClr val="tx1"/>
          </a:fontRef>
        </p:style>
      </p:cxnSp>
      <p:cxnSp>
        <p:nvCxnSpPr>
          <p:cNvPr id="93" name="Straight Arrow Connector 92">
            <a:extLst>
              <a:ext uri="{FF2B5EF4-FFF2-40B4-BE49-F238E27FC236}">
                <a16:creationId xmlns:a16="http://schemas.microsoft.com/office/drawing/2014/main" id="{9572DAFB-CEA3-4FCC-866D-45E8ADC8441C}"/>
              </a:ext>
            </a:extLst>
          </p:cNvPr>
          <p:cNvCxnSpPr>
            <a:cxnSpLocks/>
          </p:cNvCxnSpPr>
          <p:nvPr/>
        </p:nvCxnSpPr>
        <p:spPr>
          <a:xfrm>
            <a:off x="2690580" y="5222314"/>
            <a:ext cx="1453908"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95" name="Straight Arrow Connector 94">
            <a:extLst>
              <a:ext uri="{FF2B5EF4-FFF2-40B4-BE49-F238E27FC236}">
                <a16:creationId xmlns:a16="http://schemas.microsoft.com/office/drawing/2014/main" id="{D21CEF0F-9AEA-41E8-B292-9DEFF7D74109}"/>
              </a:ext>
            </a:extLst>
          </p:cNvPr>
          <p:cNvCxnSpPr>
            <a:cxnSpLocks/>
          </p:cNvCxnSpPr>
          <p:nvPr/>
        </p:nvCxnSpPr>
        <p:spPr>
          <a:xfrm flipV="1">
            <a:off x="5965790" y="3610034"/>
            <a:ext cx="3181938" cy="160395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98" name="Straight Arrow Connector 97">
            <a:extLst>
              <a:ext uri="{FF2B5EF4-FFF2-40B4-BE49-F238E27FC236}">
                <a16:creationId xmlns:a16="http://schemas.microsoft.com/office/drawing/2014/main" id="{14FA0294-3F0B-425E-8C82-03B3DB64834F}"/>
              </a:ext>
            </a:extLst>
          </p:cNvPr>
          <p:cNvCxnSpPr>
            <a:cxnSpLocks/>
          </p:cNvCxnSpPr>
          <p:nvPr/>
        </p:nvCxnSpPr>
        <p:spPr>
          <a:xfrm flipV="1">
            <a:off x="5989941" y="4748151"/>
            <a:ext cx="3024857" cy="46584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02" name="Straight Arrow Connector 101">
            <a:extLst>
              <a:ext uri="{FF2B5EF4-FFF2-40B4-BE49-F238E27FC236}">
                <a16:creationId xmlns:a16="http://schemas.microsoft.com/office/drawing/2014/main" id="{ACE847CF-4677-47DF-85A2-ACD9EF5CDB1B}"/>
              </a:ext>
            </a:extLst>
          </p:cNvPr>
          <p:cNvCxnSpPr>
            <a:cxnSpLocks/>
          </p:cNvCxnSpPr>
          <p:nvPr/>
        </p:nvCxnSpPr>
        <p:spPr>
          <a:xfrm>
            <a:off x="5962461" y="5222314"/>
            <a:ext cx="3523463" cy="474434"/>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08" name="Straight Arrow Connector 107">
            <a:extLst>
              <a:ext uri="{FF2B5EF4-FFF2-40B4-BE49-F238E27FC236}">
                <a16:creationId xmlns:a16="http://schemas.microsoft.com/office/drawing/2014/main" id="{1A79707B-6973-4CDA-BDB9-25C7C853F185}"/>
              </a:ext>
            </a:extLst>
          </p:cNvPr>
          <p:cNvCxnSpPr>
            <a:cxnSpLocks/>
          </p:cNvCxnSpPr>
          <p:nvPr/>
        </p:nvCxnSpPr>
        <p:spPr>
          <a:xfrm>
            <a:off x="5962461" y="5222313"/>
            <a:ext cx="4126412" cy="95034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12" name="Straight Arrow Connector 111">
            <a:extLst>
              <a:ext uri="{FF2B5EF4-FFF2-40B4-BE49-F238E27FC236}">
                <a16:creationId xmlns:a16="http://schemas.microsoft.com/office/drawing/2014/main" id="{ABAECF21-7600-48F2-84D9-850C616B2157}"/>
              </a:ext>
            </a:extLst>
          </p:cNvPr>
          <p:cNvCxnSpPr>
            <a:cxnSpLocks/>
          </p:cNvCxnSpPr>
          <p:nvPr/>
        </p:nvCxnSpPr>
        <p:spPr>
          <a:xfrm>
            <a:off x="9751572" y="3561288"/>
            <a:ext cx="559528" cy="269267"/>
          </a:xfrm>
          <a:prstGeom prst="straightConnector1">
            <a:avLst/>
          </a:prstGeom>
          <a:ln>
            <a:solidFill>
              <a:srgbClr val="FFFF00"/>
            </a:solidFill>
            <a:tailEnd type="triangle"/>
          </a:ln>
        </p:spPr>
        <p:style>
          <a:lnRef idx="3">
            <a:schemeClr val="accent1"/>
          </a:lnRef>
          <a:fillRef idx="0">
            <a:schemeClr val="accent1"/>
          </a:fillRef>
          <a:effectRef idx="2">
            <a:schemeClr val="accent1"/>
          </a:effectRef>
          <a:fontRef idx="minor">
            <a:schemeClr val="tx1"/>
          </a:fontRef>
        </p:style>
      </p:cxnSp>
      <p:cxnSp>
        <p:nvCxnSpPr>
          <p:cNvPr id="118" name="Straight Arrow Connector 117">
            <a:extLst>
              <a:ext uri="{FF2B5EF4-FFF2-40B4-BE49-F238E27FC236}">
                <a16:creationId xmlns:a16="http://schemas.microsoft.com/office/drawing/2014/main" id="{C1136473-BBF5-4D32-8D10-8E4C2D1DD963}"/>
              </a:ext>
            </a:extLst>
          </p:cNvPr>
          <p:cNvCxnSpPr>
            <a:cxnSpLocks/>
          </p:cNvCxnSpPr>
          <p:nvPr/>
        </p:nvCxnSpPr>
        <p:spPr>
          <a:xfrm>
            <a:off x="2690580" y="5696748"/>
            <a:ext cx="1453908" cy="0"/>
          </a:xfrm>
          <a:prstGeom prst="straightConnector1">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cxnSp>
        <p:nvCxnSpPr>
          <p:cNvPr id="119" name="Straight Arrow Connector 118">
            <a:extLst>
              <a:ext uri="{FF2B5EF4-FFF2-40B4-BE49-F238E27FC236}">
                <a16:creationId xmlns:a16="http://schemas.microsoft.com/office/drawing/2014/main" id="{77B0F861-DB60-45B7-8FD6-97CC26165ECC}"/>
              </a:ext>
            </a:extLst>
          </p:cNvPr>
          <p:cNvCxnSpPr>
            <a:cxnSpLocks/>
          </p:cNvCxnSpPr>
          <p:nvPr/>
        </p:nvCxnSpPr>
        <p:spPr>
          <a:xfrm flipV="1">
            <a:off x="5894435" y="3479292"/>
            <a:ext cx="4416665" cy="2104822"/>
          </a:xfrm>
          <a:prstGeom prst="straightConnector1">
            <a:avLst/>
          </a:prstGeom>
          <a:ln>
            <a:solidFill>
              <a:srgbClr val="00B050"/>
            </a:solidFill>
            <a:tailEnd type="triangle"/>
          </a:ln>
        </p:spPr>
        <p:style>
          <a:lnRef idx="3">
            <a:schemeClr val="accent5"/>
          </a:lnRef>
          <a:fillRef idx="0">
            <a:schemeClr val="accent5"/>
          </a:fillRef>
          <a:effectRef idx="2">
            <a:schemeClr val="accent5"/>
          </a:effectRef>
          <a:fontRef idx="minor">
            <a:schemeClr val="tx1"/>
          </a:fontRef>
        </p:style>
      </p:cxnSp>
      <p:sp>
        <p:nvSpPr>
          <p:cNvPr id="126" name="TextBox 125">
            <a:extLst>
              <a:ext uri="{FF2B5EF4-FFF2-40B4-BE49-F238E27FC236}">
                <a16:creationId xmlns:a16="http://schemas.microsoft.com/office/drawing/2014/main" id="{A2DBE953-5E4A-470D-8D48-8BD0FB1BAC29}"/>
              </a:ext>
            </a:extLst>
          </p:cNvPr>
          <p:cNvSpPr txBox="1"/>
          <p:nvPr/>
        </p:nvSpPr>
        <p:spPr>
          <a:xfrm>
            <a:off x="10131947" y="3971678"/>
            <a:ext cx="583814" cy="307777"/>
          </a:xfrm>
          <a:prstGeom prst="rect">
            <a:avLst/>
          </a:prstGeom>
          <a:noFill/>
        </p:spPr>
        <p:txBody>
          <a:bodyPr wrap="none" rtlCol="0">
            <a:spAutoFit/>
          </a:bodyPr>
          <a:lstStyle/>
          <a:p>
            <a:r>
              <a:rPr lang="en-US" sz="1400" b="1">
                <a:solidFill>
                  <a:schemeClr val="bg1"/>
                </a:solidFill>
              </a:rPr>
              <a:t>1 RU</a:t>
            </a:r>
          </a:p>
        </p:txBody>
      </p:sp>
      <p:sp>
        <p:nvSpPr>
          <p:cNvPr id="128" name="TextBox 127">
            <a:extLst>
              <a:ext uri="{FF2B5EF4-FFF2-40B4-BE49-F238E27FC236}">
                <a16:creationId xmlns:a16="http://schemas.microsoft.com/office/drawing/2014/main" id="{9BA3C227-E253-4ED6-A02F-C8CEE648F25A}"/>
              </a:ext>
            </a:extLst>
          </p:cNvPr>
          <p:cNvSpPr txBox="1"/>
          <p:nvPr/>
        </p:nvSpPr>
        <p:spPr>
          <a:xfrm>
            <a:off x="8025667" y="3578887"/>
            <a:ext cx="764953" cy="307777"/>
          </a:xfrm>
          <a:prstGeom prst="rect">
            <a:avLst/>
          </a:prstGeom>
          <a:noFill/>
        </p:spPr>
        <p:txBody>
          <a:bodyPr wrap="none" rtlCol="0">
            <a:spAutoFit/>
          </a:bodyPr>
          <a:lstStyle/>
          <a:p>
            <a:r>
              <a:rPr lang="en-US" sz="1400" b="1">
                <a:solidFill>
                  <a:schemeClr val="bg1"/>
                </a:solidFill>
              </a:rPr>
              <a:t>10 RUs</a:t>
            </a:r>
          </a:p>
        </p:txBody>
      </p:sp>
      <p:sp>
        <p:nvSpPr>
          <p:cNvPr id="130" name="TextBox 129">
            <a:extLst>
              <a:ext uri="{FF2B5EF4-FFF2-40B4-BE49-F238E27FC236}">
                <a16:creationId xmlns:a16="http://schemas.microsoft.com/office/drawing/2014/main" id="{7C8E6D53-CA5A-4FF4-AB5E-28E8B49EF3F3}"/>
              </a:ext>
            </a:extLst>
          </p:cNvPr>
          <p:cNvSpPr txBox="1"/>
          <p:nvPr/>
        </p:nvSpPr>
        <p:spPr>
          <a:xfrm>
            <a:off x="8249845" y="4808644"/>
            <a:ext cx="662361" cy="307777"/>
          </a:xfrm>
          <a:prstGeom prst="rect">
            <a:avLst/>
          </a:prstGeom>
          <a:noFill/>
        </p:spPr>
        <p:txBody>
          <a:bodyPr wrap="none" rtlCol="0">
            <a:spAutoFit/>
          </a:bodyPr>
          <a:lstStyle/>
          <a:p>
            <a:r>
              <a:rPr lang="en-US" sz="1400" b="1">
                <a:solidFill>
                  <a:schemeClr val="bg1"/>
                </a:solidFill>
              </a:rPr>
              <a:t>8 RUs</a:t>
            </a:r>
          </a:p>
        </p:txBody>
      </p:sp>
      <p:sp>
        <p:nvSpPr>
          <p:cNvPr id="132" name="TextBox 131">
            <a:extLst>
              <a:ext uri="{FF2B5EF4-FFF2-40B4-BE49-F238E27FC236}">
                <a16:creationId xmlns:a16="http://schemas.microsoft.com/office/drawing/2014/main" id="{5B4209FC-EAA7-41CA-819F-83CCF6CC472A}"/>
              </a:ext>
            </a:extLst>
          </p:cNvPr>
          <p:cNvSpPr txBox="1"/>
          <p:nvPr/>
        </p:nvSpPr>
        <p:spPr>
          <a:xfrm>
            <a:off x="8827150" y="5625505"/>
            <a:ext cx="662361" cy="307777"/>
          </a:xfrm>
          <a:prstGeom prst="rect">
            <a:avLst/>
          </a:prstGeom>
          <a:noFill/>
        </p:spPr>
        <p:txBody>
          <a:bodyPr wrap="none" rtlCol="0">
            <a:spAutoFit/>
          </a:bodyPr>
          <a:lstStyle/>
          <a:p>
            <a:r>
              <a:rPr lang="en-US" sz="1400" b="1">
                <a:solidFill>
                  <a:schemeClr val="bg1"/>
                </a:solidFill>
              </a:rPr>
              <a:t>3 RUs</a:t>
            </a:r>
          </a:p>
        </p:txBody>
      </p:sp>
      <p:sp>
        <p:nvSpPr>
          <p:cNvPr id="134" name="TextBox 133">
            <a:extLst>
              <a:ext uri="{FF2B5EF4-FFF2-40B4-BE49-F238E27FC236}">
                <a16:creationId xmlns:a16="http://schemas.microsoft.com/office/drawing/2014/main" id="{2961C2FD-DCD5-4064-A16E-3BDE390C9D60}"/>
              </a:ext>
            </a:extLst>
          </p:cNvPr>
          <p:cNvSpPr txBox="1"/>
          <p:nvPr/>
        </p:nvSpPr>
        <p:spPr>
          <a:xfrm>
            <a:off x="9420391" y="6179850"/>
            <a:ext cx="662361" cy="307777"/>
          </a:xfrm>
          <a:prstGeom prst="rect">
            <a:avLst/>
          </a:prstGeom>
          <a:noFill/>
        </p:spPr>
        <p:txBody>
          <a:bodyPr wrap="none" rtlCol="0">
            <a:spAutoFit/>
          </a:bodyPr>
          <a:lstStyle/>
          <a:p>
            <a:r>
              <a:rPr lang="en-US" sz="1400" b="1">
                <a:solidFill>
                  <a:schemeClr val="bg1"/>
                </a:solidFill>
              </a:rPr>
              <a:t>3 RUs</a:t>
            </a:r>
          </a:p>
        </p:txBody>
      </p:sp>
      <p:sp>
        <p:nvSpPr>
          <p:cNvPr id="136" name="TextBox 135">
            <a:extLst>
              <a:ext uri="{FF2B5EF4-FFF2-40B4-BE49-F238E27FC236}">
                <a16:creationId xmlns:a16="http://schemas.microsoft.com/office/drawing/2014/main" id="{2FB37295-3443-45DA-8928-3304B906FCE5}"/>
              </a:ext>
            </a:extLst>
          </p:cNvPr>
          <p:cNvSpPr txBox="1"/>
          <p:nvPr/>
        </p:nvSpPr>
        <p:spPr>
          <a:xfrm>
            <a:off x="3040725" y="5213992"/>
            <a:ext cx="764953" cy="307777"/>
          </a:xfrm>
          <a:prstGeom prst="rect">
            <a:avLst/>
          </a:prstGeom>
          <a:noFill/>
        </p:spPr>
        <p:txBody>
          <a:bodyPr wrap="none" rtlCol="0">
            <a:spAutoFit/>
          </a:bodyPr>
          <a:lstStyle/>
          <a:p>
            <a:r>
              <a:rPr lang="en-US" sz="1400" b="1">
                <a:solidFill>
                  <a:schemeClr val="bg1"/>
                </a:solidFill>
              </a:rPr>
              <a:t>24 RUs</a:t>
            </a:r>
          </a:p>
        </p:txBody>
      </p:sp>
      <p:sp>
        <p:nvSpPr>
          <p:cNvPr id="138" name="TextBox 137">
            <a:extLst>
              <a:ext uri="{FF2B5EF4-FFF2-40B4-BE49-F238E27FC236}">
                <a16:creationId xmlns:a16="http://schemas.microsoft.com/office/drawing/2014/main" id="{2A6DEE09-8679-4618-A662-1D453A453295}"/>
              </a:ext>
            </a:extLst>
          </p:cNvPr>
          <p:cNvSpPr txBox="1"/>
          <p:nvPr/>
        </p:nvSpPr>
        <p:spPr>
          <a:xfrm>
            <a:off x="3109203" y="4762843"/>
            <a:ext cx="583814" cy="307777"/>
          </a:xfrm>
          <a:prstGeom prst="rect">
            <a:avLst/>
          </a:prstGeom>
          <a:noFill/>
        </p:spPr>
        <p:txBody>
          <a:bodyPr wrap="none" rtlCol="0">
            <a:spAutoFit/>
          </a:bodyPr>
          <a:lstStyle/>
          <a:p>
            <a:r>
              <a:rPr lang="en-US" sz="1400" b="1">
                <a:solidFill>
                  <a:schemeClr val="bg1"/>
                </a:solidFill>
              </a:rPr>
              <a:t>1 RU</a:t>
            </a:r>
          </a:p>
        </p:txBody>
      </p:sp>
      <p:sp>
        <p:nvSpPr>
          <p:cNvPr id="140" name="TextBox 139">
            <a:extLst>
              <a:ext uri="{FF2B5EF4-FFF2-40B4-BE49-F238E27FC236}">
                <a16:creationId xmlns:a16="http://schemas.microsoft.com/office/drawing/2014/main" id="{A9689E42-C304-4104-9538-88929E9591F3}"/>
              </a:ext>
            </a:extLst>
          </p:cNvPr>
          <p:cNvSpPr txBox="1"/>
          <p:nvPr/>
        </p:nvSpPr>
        <p:spPr>
          <a:xfrm>
            <a:off x="3088920" y="5701137"/>
            <a:ext cx="662361" cy="307777"/>
          </a:xfrm>
          <a:prstGeom prst="rect">
            <a:avLst/>
          </a:prstGeom>
          <a:noFill/>
        </p:spPr>
        <p:txBody>
          <a:bodyPr wrap="none" rtlCol="0">
            <a:spAutoFit/>
          </a:bodyPr>
          <a:lstStyle/>
          <a:p>
            <a:r>
              <a:rPr lang="en-US" sz="1400" b="1">
                <a:solidFill>
                  <a:schemeClr val="bg1"/>
                </a:solidFill>
              </a:rPr>
              <a:t>5 RUs</a:t>
            </a:r>
          </a:p>
        </p:txBody>
      </p:sp>
      <p:sp>
        <p:nvSpPr>
          <p:cNvPr id="142" name="TextBox 141">
            <a:extLst>
              <a:ext uri="{FF2B5EF4-FFF2-40B4-BE49-F238E27FC236}">
                <a16:creationId xmlns:a16="http://schemas.microsoft.com/office/drawing/2014/main" id="{A5F8C61E-E0E0-4844-8214-26DA50992E98}"/>
              </a:ext>
            </a:extLst>
          </p:cNvPr>
          <p:cNvSpPr txBox="1"/>
          <p:nvPr/>
        </p:nvSpPr>
        <p:spPr>
          <a:xfrm>
            <a:off x="10158595" y="2907855"/>
            <a:ext cx="662361" cy="307777"/>
          </a:xfrm>
          <a:prstGeom prst="rect">
            <a:avLst/>
          </a:prstGeom>
          <a:noFill/>
        </p:spPr>
        <p:txBody>
          <a:bodyPr wrap="none" rtlCol="0">
            <a:spAutoFit/>
          </a:bodyPr>
          <a:lstStyle/>
          <a:p>
            <a:r>
              <a:rPr lang="en-US" sz="1400" b="1">
                <a:solidFill>
                  <a:schemeClr val="bg1"/>
                </a:solidFill>
              </a:rPr>
              <a:t>5 RUs</a:t>
            </a:r>
          </a:p>
        </p:txBody>
      </p:sp>
    </p:spTree>
    <p:extLst>
      <p:ext uri="{BB962C8B-B14F-4D97-AF65-F5344CB8AC3E}">
        <p14:creationId xmlns:p14="http://schemas.microsoft.com/office/powerpoint/2010/main" val="288914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1000"/>
                                        <p:tgtEl>
                                          <p:spTgt spid="22"/>
                                        </p:tgtEl>
                                      </p:cBhvr>
                                    </p:animEffect>
                                    <p:anim calcmode="lin" valueType="num">
                                      <p:cBhvr>
                                        <p:cTn id="16" dur="1000" fill="hold"/>
                                        <p:tgtEl>
                                          <p:spTgt spid="22"/>
                                        </p:tgtEl>
                                        <p:attrNameLst>
                                          <p:attrName>ppt_x</p:attrName>
                                        </p:attrNameLst>
                                      </p:cBhvr>
                                      <p:tavLst>
                                        <p:tav tm="0">
                                          <p:val>
                                            <p:strVal val="#ppt_x"/>
                                          </p:val>
                                        </p:tav>
                                        <p:tav tm="100000">
                                          <p:val>
                                            <p:strVal val="#ppt_x"/>
                                          </p:val>
                                        </p:tav>
                                      </p:tavLst>
                                    </p:anim>
                                    <p:anim calcmode="lin" valueType="num">
                                      <p:cBhvr>
                                        <p:cTn id="17" dur="1000" fill="hold"/>
                                        <p:tgtEl>
                                          <p:spTgt spid="22"/>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1000"/>
                                        <p:tgtEl>
                                          <p:spTgt spid="84"/>
                                        </p:tgtEl>
                                      </p:cBhvr>
                                    </p:animEffect>
                                    <p:anim calcmode="lin" valueType="num">
                                      <p:cBhvr>
                                        <p:cTn id="21" dur="1000" fill="hold"/>
                                        <p:tgtEl>
                                          <p:spTgt spid="84"/>
                                        </p:tgtEl>
                                        <p:attrNameLst>
                                          <p:attrName>ppt_x</p:attrName>
                                        </p:attrNameLst>
                                      </p:cBhvr>
                                      <p:tavLst>
                                        <p:tav tm="0">
                                          <p:val>
                                            <p:strVal val="#ppt_x"/>
                                          </p:val>
                                        </p:tav>
                                        <p:tav tm="100000">
                                          <p:val>
                                            <p:strVal val="#ppt_x"/>
                                          </p:val>
                                        </p:tav>
                                      </p:tavLst>
                                    </p:anim>
                                    <p:anim calcmode="lin" valueType="num">
                                      <p:cBhvr>
                                        <p:cTn id="22" dur="1000" fill="hold"/>
                                        <p:tgtEl>
                                          <p:spTgt spid="84"/>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fade">
                                      <p:cBhvr>
                                        <p:cTn id="25" dur="1000"/>
                                        <p:tgtEl>
                                          <p:spTgt spid="69"/>
                                        </p:tgtEl>
                                      </p:cBhvr>
                                    </p:animEffect>
                                    <p:anim calcmode="lin" valueType="num">
                                      <p:cBhvr>
                                        <p:cTn id="26" dur="1000" fill="hold"/>
                                        <p:tgtEl>
                                          <p:spTgt spid="69"/>
                                        </p:tgtEl>
                                        <p:attrNameLst>
                                          <p:attrName>ppt_x</p:attrName>
                                        </p:attrNameLst>
                                      </p:cBhvr>
                                      <p:tavLst>
                                        <p:tav tm="0">
                                          <p:val>
                                            <p:strVal val="#ppt_x"/>
                                          </p:val>
                                        </p:tav>
                                        <p:tav tm="100000">
                                          <p:val>
                                            <p:strVal val="#ppt_x"/>
                                          </p:val>
                                        </p:tav>
                                      </p:tavLst>
                                    </p:anim>
                                    <p:anim calcmode="lin" valueType="num">
                                      <p:cBhvr>
                                        <p:cTn id="27"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6" presetClass="entr" presetSubtype="16" fill="hold" grpId="0" nodeType="click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circle(in)">
                                      <p:cBhvr>
                                        <p:cTn id="32" dur="2000"/>
                                        <p:tgtEl>
                                          <p:spTgt spid="64"/>
                                        </p:tgtEl>
                                      </p:cBhvr>
                                    </p:animEffect>
                                  </p:childTnLst>
                                </p:cTn>
                              </p:par>
                              <p:par>
                                <p:cTn id="33" presetID="6" presetClass="entr" presetSubtype="16" fill="hold" nodeType="with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circle(in)">
                                      <p:cBhvr>
                                        <p:cTn id="35" dur="2000"/>
                                        <p:tgtEl>
                                          <p:spTgt spid="77"/>
                                        </p:tgtEl>
                                      </p:cBhvr>
                                    </p:animEffect>
                                  </p:childTnLst>
                                </p:cTn>
                              </p:par>
                              <p:par>
                                <p:cTn id="36" presetID="6" presetClass="entr" presetSubtype="16" fill="hold" grpId="0" nodeType="with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circle(in)">
                                      <p:cBhvr>
                                        <p:cTn id="38" dur="2000"/>
                                        <p:tgtEl>
                                          <p:spTgt spid="82"/>
                                        </p:tgtEl>
                                      </p:cBhvr>
                                    </p:animEffect>
                                  </p:childTnLst>
                                </p:cTn>
                              </p:par>
                              <p:par>
                                <p:cTn id="39" presetID="6" presetClass="entr" presetSubtype="16" fill="hold" nodeType="with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circle(in)">
                                      <p:cBhvr>
                                        <p:cTn id="41" dur="2000"/>
                                        <p:tgtEl>
                                          <p:spTgt spid="74"/>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67">
                                            <p:txEl>
                                              <p:pRg st="5" end="5"/>
                                            </p:txEl>
                                          </p:spTgt>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67">
                                            <p:txEl>
                                              <p:pRg st="7" end="7"/>
                                            </p:txEl>
                                          </p:spTgt>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91"/>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88"/>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112"/>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38"/>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126"/>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67">
                                            <p:txEl>
                                              <p:pRg st="9" end="9"/>
                                            </p:txEl>
                                          </p:spTgt>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93"/>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95"/>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98"/>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102"/>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108"/>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132"/>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128"/>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30"/>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134"/>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1" presetClass="entr" presetSubtype="0" fill="hold" grpId="0" nodeType="clickEffect">
                                  <p:stCondLst>
                                    <p:cond delay="0"/>
                                  </p:stCondLst>
                                  <p:childTnLst>
                                    <p:set>
                                      <p:cBhvr>
                                        <p:cTn id="95" dur="1" fill="hold">
                                          <p:stCondLst>
                                            <p:cond delay="0"/>
                                          </p:stCondLst>
                                        </p:cTn>
                                        <p:tgtEl>
                                          <p:spTgt spid="136"/>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nodeType="clickEffect">
                                  <p:stCondLst>
                                    <p:cond delay="0"/>
                                  </p:stCondLst>
                                  <p:childTnLst>
                                    <p:set>
                                      <p:cBhvr>
                                        <p:cTn id="99" dur="1" fill="hold">
                                          <p:stCondLst>
                                            <p:cond delay="0"/>
                                          </p:stCondLst>
                                        </p:cTn>
                                        <p:tgtEl>
                                          <p:spTgt spid="67">
                                            <p:txEl>
                                              <p:pRg st="11" end="11"/>
                                            </p:txEl>
                                          </p:spTgt>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118"/>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119"/>
                                        </p:tgtEl>
                                        <p:attrNameLst>
                                          <p:attrName>style.visibility</p:attrName>
                                        </p:attrNameLst>
                                      </p:cBhvr>
                                      <p:to>
                                        <p:strVal val="visible"/>
                                      </p:to>
                                    </p:set>
                                  </p:childTnLst>
                                </p:cTn>
                              </p:par>
                            </p:childTnLst>
                          </p:cTn>
                        </p:par>
                      </p:childTnLst>
                    </p:cTn>
                  </p:par>
                  <p:par>
                    <p:cTn id="104" fill="hold">
                      <p:stCondLst>
                        <p:cond delay="indefinite"/>
                      </p:stCondLst>
                      <p:childTnLst>
                        <p:par>
                          <p:cTn id="105" fill="hold">
                            <p:stCondLst>
                              <p:cond delay="0"/>
                            </p:stCondLst>
                            <p:childTnLst>
                              <p:par>
                                <p:cTn id="106" presetID="1" presetClass="entr" presetSubtype="0" fill="hold" grpId="0" nodeType="clickEffect">
                                  <p:stCondLst>
                                    <p:cond delay="0"/>
                                  </p:stCondLst>
                                  <p:childTnLst>
                                    <p:set>
                                      <p:cBhvr>
                                        <p:cTn id="107" dur="1" fill="hold">
                                          <p:stCondLst>
                                            <p:cond delay="0"/>
                                          </p:stCondLst>
                                        </p:cTn>
                                        <p:tgtEl>
                                          <p:spTgt spid="140"/>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4" grpId="0" animBg="1"/>
      <p:bldP spid="82" grpId="0"/>
      <p:bldP spid="126" grpId="0"/>
      <p:bldP spid="128" grpId="0"/>
      <p:bldP spid="130" grpId="0"/>
      <p:bldP spid="132" grpId="0"/>
      <p:bldP spid="134" grpId="0"/>
      <p:bldP spid="136" grpId="0"/>
      <p:bldP spid="138" grpId="0"/>
      <p:bldP spid="140" grpId="0"/>
      <p:bldP spid="14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SDK + Service interaction</a:t>
            </a:r>
          </a:p>
        </p:txBody>
      </p:sp>
      <p:sp>
        <p:nvSpPr>
          <p:cNvPr id="19" name="Rectangle: Rounded Corners 18">
            <a:extLst>
              <a:ext uri="{FF2B5EF4-FFF2-40B4-BE49-F238E27FC236}">
                <a16:creationId xmlns:a16="http://schemas.microsoft.com/office/drawing/2014/main" id="{FF6FA096-2E87-414F-BE78-401861A57550}"/>
              </a:ext>
            </a:extLst>
          </p:cNvPr>
          <p:cNvSpPr/>
          <p:nvPr/>
        </p:nvSpPr>
        <p:spPr>
          <a:xfrm>
            <a:off x="308758" y="1603170"/>
            <a:ext cx="1888177" cy="7362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lient App</a:t>
            </a:r>
          </a:p>
        </p:txBody>
      </p:sp>
      <p:cxnSp>
        <p:nvCxnSpPr>
          <p:cNvPr id="21" name="Straight Connector 20">
            <a:extLst>
              <a:ext uri="{FF2B5EF4-FFF2-40B4-BE49-F238E27FC236}">
                <a16:creationId xmlns:a16="http://schemas.microsoft.com/office/drawing/2014/main" id="{1995DA39-C151-4DF6-AE9B-5975328D1A33}"/>
              </a:ext>
            </a:extLst>
          </p:cNvPr>
          <p:cNvCxnSpPr>
            <a:cxnSpLocks/>
          </p:cNvCxnSpPr>
          <p:nvPr/>
        </p:nvCxnSpPr>
        <p:spPr bwMode="auto">
          <a:xfrm>
            <a:off x="3919017" y="1493838"/>
            <a:ext cx="0" cy="480393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Rectangle: Rounded Corners 21">
            <a:extLst>
              <a:ext uri="{FF2B5EF4-FFF2-40B4-BE49-F238E27FC236}">
                <a16:creationId xmlns:a16="http://schemas.microsoft.com/office/drawing/2014/main" id="{B752C090-2C96-4E27-BC4B-EF9FFA822A7D}"/>
              </a:ext>
            </a:extLst>
          </p:cNvPr>
          <p:cNvSpPr/>
          <p:nvPr/>
        </p:nvSpPr>
        <p:spPr>
          <a:xfrm>
            <a:off x="4302437" y="1543426"/>
            <a:ext cx="1531530" cy="196675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mos DB Gateway</a:t>
            </a:r>
          </a:p>
        </p:txBody>
      </p:sp>
      <p:sp>
        <p:nvSpPr>
          <p:cNvPr id="26" name="Flowchart: Magnetic Disk 25">
            <a:extLst>
              <a:ext uri="{FF2B5EF4-FFF2-40B4-BE49-F238E27FC236}">
                <a16:creationId xmlns:a16="http://schemas.microsoft.com/office/drawing/2014/main" id="{273290DA-309D-4C0A-B968-000840071FFC}"/>
              </a:ext>
            </a:extLst>
          </p:cNvPr>
          <p:cNvSpPr/>
          <p:nvPr/>
        </p:nvSpPr>
        <p:spPr bwMode="auto">
          <a:xfrm>
            <a:off x="9280446" y="247902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1</a:t>
            </a:r>
          </a:p>
        </p:txBody>
      </p:sp>
      <p:sp>
        <p:nvSpPr>
          <p:cNvPr id="28" name="Flowchart: Magnetic Disk 27">
            <a:extLst>
              <a:ext uri="{FF2B5EF4-FFF2-40B4-BE49-F238E27FC236}">
                <a16:creationId xmlns:a16="http://schemas.microsoft.com/office/drawing/2014/main" id="{4A1F37AA-7639-4175-9F96-ED013B084D5D}"/>
              </a:ext>
            </a:extLst>
          </p:cNvPr>
          <p:cNvSpPr/>
          <p:nvPr/>
        </p:nvSpPr>
        <p:spPr bwMode="auto">
          <a:xfrm>
            <a:off x="9014798" y="419858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b="1">
                <a:solidFill>
                  <a:srgbClr val="D9D9D9"/>
                </a:solidFill>
                <a:latin typeface="Segoe UI" pitchFamily="34" charset="0"/>
                <a:cs typeface="Arial" charset="0"/>
              </a:rPr>
              <a:t>P2</a:t>
            </a:r>
            <a:endParaRPr kumimoji="0" lang="en-US" b="1" i="0" u="none" strike="noStrike" cap="none" normalizeH="0" baseline="0">
              <a:ln>
                <a:noFill/>
              </a:ln>
              <a:solidFill>
                <a:srgbClr val="D9D9D9"/>
              </a:solidFill>
              <a:effectLst/>
              <a:latin typeface="Segoe UI" pitchFamily="34" charset="0"/>
              <a:cs typeface="Arial" charset="0"/>
            </a:endParaRPr>
          </a:p>
        </p:txBody>
      </p:sp>
      <p:sp>
        <p:nvSpPr>
          <p:cNvPr id="29" name="Flowchart: Magnetic Disk 28">
            <a:extLst>
              <a:ext uri="{FF2B5EF4-FFF2-40B4-BE49-F238E27FC236}">
                <a16:creationId xmlns:a16="http://schemas.microsoft.com/office/drawing/2014/main" id="{B3911A2B-9095-4180-91D8-A0FA01EF8B4F}"/>
              </a:ext>
            </a:extLst>
          </p:cNvPr>
          <p:cNvSpPr/>
          <p:nvPr/>
        </p:nvSpPr>
        <p:spPr bwMode="auto">
          <a:xfrm>
            <a:off x="9617747" y="4529548"/>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3</a:t>
            </a:r>
          </a:p>
        </p:txBody>
      </p:sp>
      <p:sp>
        <p:nvSpPr>
          <p:cNvPr id="32" name="Flowchart: Magnetic Disk 31">
            <a:extLst>
              <a:ext uri="{FF2B5EF4-FFF2-40B4-BE49-F238E27FC236}">
                <a16:creationId xmlns:a16="http://schemas.microsoft.com/office/drawing/2014/main" id="{2BD0A379-6FA4-44B4-8CBD-7AE98FE78F43}"/>
              </a:ext>
            </a:extLst>
          </p:cNvPr>
          <p:cNvSpPr/>
          <p:nvPr/>
        </p:nvSpPr>
        <p:spPr bwMode="auto">
          <a:xfrm>
            <a:off x="10220696" y="4945302"/>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4</a:t>
            </a:r>
          </a:p>
        </p:txBody>
      </p:sp>
      <p:sp>
        <p:nvSpPr>
          <p:cNvPr id="57" name="Flowchart: Magnetic Disk 56">
            <a:extLst>
              <a:ext uri="{FF2B5EF4-FFF2-40B4-BE49-F238E27FC236}">
                <a16:creationId xmlns:a16="http://schemas.microsoft.com/office/drawing/2014/main" id="{1C6AF795-0B4D-4070-86F0-A3785AB24106}"/>
              </a:ext>
            </a:extLst>
          </p:cNvPr>
          <p:cNvSpPr/>
          <p:nvPr/>
        </p:nvSpPr>
        <p:spPr bwMode="auto">
          <a:xfrm>
            <a:off x="10220696" y="3559770"/>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D9D9D9"/>
                </a:solidFill>
                <a:effectLst/>
                <a:latin typeface="Segoe UI" pitchFamily="34" charset="0"/>
                <a:cs typeface="Arial" charset="0"/>
              </a:rPr>
              <a:t>S</a:t>
            </a: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61" name="Flowchart: Magnetic Disk 60">
            <a:extLst>
              <a:ext uri="{FF2B5EF4-FFF2-40B4-BE49-F238E27FC236}">
                <a16:creationId xmlns:a16="http://schemas.microsoft.com/office/drawing/2014/main" id="{02495E9B-0117-4D57-B8DA-AAF348677163}"/>
              </a:ext>
            </a:extLst>
          </p:cNvPr>
          <p:cNvSpPr/>
          <p:nvPr/>
        </p:nvSpPr>
        <p:spPr bwMode="auto">
          <a:xfrm>
            <a:off x="10648401" y="3579066"/>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sz="1200" b="1">
                <a:solidFill>
                  <a:srgbClr val="D9D9D9"/>
                </a:solidFill>
                <a:latin typeface="Segoe UI" pitchFamily="34" charset="0"/>
                <a:cs typeface="Arial" charset="0"/>
              </a:rPr>
              <a:t>F</a:t>
            </a:r>
            <a:endParaRPr kumimoji="0" lang="en-US" sz="1200" b="1" i="0" u="none" strike="noStrike" cap="none" normalizeH="0" baseline="0">
              <a:ln>
                <a:noFill/>
              </a:ln>
              <a:solidFill>
                <a:srgbClr val="D9D9D9"/>
              </a:solidFill>
              <a:effectLst/>
              <a:latin typeface="Segoe UI" pitchFamily="34" charset="0"/>
              <a:cs typeface="Arial" charset="0"/>
            </a:endParaRP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43" name="Flowchart: Magnetic Disk 42">
            <a:extLst>
              <a:ext uri="{FF2B5EF4-FFF2-40B4-BE49-F238E27FC236}">
                <a16:creationId xmlns:a16="http://schemas.microsoft.com/office/drawing/2014/main" id="{C297AFA7-93BF-4967-BDB2-DD33905427A6}"/>
              </a:ext>
            </a:extLst>
          </p:cNvPr>
          <p:cNvSpPr/>
          <p:nvPr/>
        </p:nvSpPr>
        <p:spPr bwMode="auto">
          <a:xfrm>
            <a:off x="10222699" y="3221857"/>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lang="en-US" sz="1200" b="1">
                <a:solidFill>
                  <a:srgbClr val="D9D9D9"/>
                </a:solidFill>
                <a:latin typeface="Segoe UI" pitchFamily="34" charset="0"/>
                <a:cs typeface="Arial" charset="0"/>
              </a:rPr>
              <a:t>P</a:t>
            </a:r>
            <a:endParaRPr kumimoji="0" lang="en-US" sz="1200" b="1" i="0" u="none" strike="noStrike" cap="none" normalizeH="0" baseline="0">
              <a:ln>
                <a:noFill/>
              </a:ln>
              <a:solidFill>
                <a:srgbClr val="D9D9D9"/>
              </a:solidFill>
              <a:effectLst/>
              <a:latin typeface="Segoe UI" pitchFamily="34" charset="0"/>
              <a:cs typeface="Arial" charset="0"/>
            </a:endParaRP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59" name="Flowchart: Magnetic Disk 58">
            <a:extLst>
              <a:ext uri="{FF2B5EF4-FFF2-40B4-BE49-F238E27FC236}">
                <a16:creationId xmlns:a16="http://schemas.microsoft.com/office/drawing/2014/main" id="{21E40231-F3C0-447A-AFC0-623056652003}"/>
              </a:ext>
            </a:extLst>
          </p:cNvPr>
          <p:cNvSpPr/>
          <p:nvPr/>
        </p:nvSpPr>
        <p:spPr bwMode="auto">
          <a:xfrm>
            <a:off x="10648401" y="3221857"/>
            <a:ext cx="413564" cy="388719"/>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D9D9D9"/>
                </a:solidFill>
                <a:effectLst/>
                <a:latin typeface="Segoe UI" pitchFamily="34" charset="0"/>
                <a:cs typeface="Arial" charset="0"/>
              </a:rPr>
              <a:t>S</a:t>
            </a:r>
          </a:p>
          <a:p>
            <a:pPr marL="0" marR="0" indent="0" algn="l" defTabSz="1306513"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Segoe UI" pitchFamily="34" charset="0"/>
              <a:cs typeface="Arial" charset="0"/>
            </a:endParaRPr>
          </a:p>
        </p:txBody>
      </p:sp>
      <p:sp>
        <p:nvSpPr>
          <p:cNvPr id="62" name="Cloud 61">
            <a:extLst>
              <a:ext uri="{FF2B5EF4-FFF2-40B4-BE49-F238E27FC236}">
                <a16:creationId xmlns:a16="http://schemas.microsoft.com/office/drawing/2014/main" id="{BB04EE29-A103-4869-AE48-60667D1C3F49}"/>
              </a:ext>
            </a:extLst>
          </p:cNvPr>
          <p:cNvSpPr/>
          <p:nvPr/>
        </p:nvSpPr>
        <p:spPr>
          <a:xfrm>
            <a:off x="2995106" y="6008914"/>
            <a:ext cx="1888177" cy="736270"/>
          </a:xfrm>
          <a:prstGeom prst="clou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zure</a:t>
            </a:r>
          </a:p>
        </p:txBody>
      </p:sp>
      <p:sp>
        <p:nvSpPr>
          <p:cNvPr id="64" name="Flowchart: Magnetic Disk 63">
            <a:extLst>
              <a:ext uri="{FF2B5EF4-FFF2-40B4-BE49-F238E27FC236}">
                <a16:creationId xmlns:a16="http://schemas.microsoft.com/office/drawing/2014/main" id="{EEBA5BCD-4BCC-4615-A7F1-B9885BC31449}"/>
              </a:ext>
            </a:extLst>
          </p:cNvPr>
          <p:cNvSpPr/>
          <p:nvPr/>
        </p:nvSpPr>
        <p:spPr bwMode="auto">
          <a:xfrm>
            <a:off x="9280446" y="702338"/>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Master</a:t>
            </a:r>
          </a:p>
        </p:txBody>
      </p:sp>
      <p:sp>
        <p:nvSpPr>
          <p:cNvPr id="67" name="TextBox 66">
            <a:extLst>
              <a:ext uri="{FF2B5EF4-FFF2-40B4-BE49-F238E27FC236}">
                <a16:creationId xmlns:a16="http://schemas.microsoft.com/office/drawing/2014/main" id="{D1C1BC2F-0892-457E-B2A3-FAE754558B62}"/>
              </a:ext>
            </a:extLst>
          </p:cNvPr>
          <p:cNvSpPr txBox="1"/>
          <p:nvPr/>
        </p:nvSpPr>
        <p:spPr>
          <a:xfrm>
            <a:off x="218428" y="2588205"/>
            <a:ext cx="3493147" cy="1600438"/>
          </a:xfrm>
          <a:prstGeom prst="rect">
            <a:avLst/>
          </a:prstGeom>
          <a:noFill/>
        </p:spPr>
        <p:txBody>
          <a:bodyPr wrap="square" rtlCol="0">
            <a:spAutoFit/>
          </a:bodyPr>
          <a:lstStyle/>
          <a:p>
            <a:r>
              <a:rPr lang="en-US" sz="1600">
                <a:solidFill>
                  <a:schemeClr val="bg1"/>
                </a:solidFill>
              </a:rPr>
              <a:t>New </a:t>
            </a:r>
            <a:r>
              <a:rPr lang="en-US" sz="1600" err="1">
                <a:solidFill>
                  <a:schemeClr val="bg1"/>
                </a:solidFill>
              </a:rPr>
              <a:t>CosmosClient</a:t>
            </a:r>
            <a:r>
              <a:rPr lang="en-US" sz="1600">
                <a:solidFill>
                  <a:schemeClr val="bg1"/>
                </a:solidFill>
              </a:rPr>
              <a:t>()</a:t>
            </a:r>
          </a:p>
          <a:p>
            <a:endParaRPr lang="en-US" sz="1600">
              <a:solidFill>
                <a:schemeClr val="bg1"/>
              </a:solidFill>
            </a:endParaRPr>
          </a:p>
          <a:p>
            <a:r>
              <a:rPr lang="en-US" b="1">
                <a:solidFill>
                  <a:schemeClr val="bg1"/>
                </a:solidFill>
              </a:rPr>
              <a:t>(Direct Mode - .NET/Java)</a:t>
            </a:r>
          </a:p>
          <a:p>
            <a:endParaRPr lang="en-US" sz="1600">
              <a:solidFill>
                <a:schemeClr val="bg1"/>
              </a:solidFill>
            </a:endParaRPr>
          </a:p>
          <a:p>
            <a:r>
              <a:rPr lang="en-US" sz="1600" err="1">
                <a:solidFill>
                  <a:schemeClr val="bg1"/>
                </a:solidFill>
              </a:rPr>
              <a:t>ReadItemAsync</a:t>
            </a:r>
            <a:r>
              <a:rPr lang="en-US" sz="1600">
                <a:solidFill>
                  <a:schemeClr val="bg1"/>
                </a:solidFill>
              </a:rPr>
              <a:t>()</a:t>
            </a:r>
          </a:p>
          <a:p>
            <a:endParaRPr lang="en-US" sz="1600">
              <a:solidFill>
                <a:schemeClr val="bg1"/>
              </a:solidFill>
            </a:endParaRPr>
          </a:p>
        </p:txBody>
      </p:sp>
      <p:cxnSp>
        <p:nvCxnSpPr>
          <p:cNvPr id="69" name="Straight Arrow Connector 68">
            <a:extLst>
              <a:ext uri="{FF2B5EF4-FFF2-40B4-BE49-F238E27FC236}">
                <a16:creationId xmlns:a16="http://schemas.microsoft.com/office/drawing/2014/main" id="{2C399A27-654B-408A-8801-5B52B70952B5}"/>
              </a:ext>
            </a:extLst>
          </p:cNvPr>
          <p:cNvCxnSpPr>
            <a:cxnSpLocks/>
          </p:cNvCxnSpPr>
          <p:nvPr/>
        </p:nvCxnSpPr>
        <p:spPr>
          <a:xfrm>
            <a:off x="2690580" y="2600081"/>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4" name="Straight Arrow Connector 73">
            <a:extLst>
              <a:ext uri="{FF2B5EF4-FFF2-40B4-BE49-F238E27FC236}">
                <a16:creationId xmlns:a16="http://schemas.microsoft.com/office/drawing/2014/main" id="{E4D7171D-8D77-4831-AB91-833B1E4F0AB9}"/>
              </a:ext>
            </a:extLst>
          </p:cNvPr>
          <p:cNvCxnSpPr>
            <a:cxnSpLocks/>
          </p:cNvCxnSpPr>
          <p:nvPr/>
        </p:nvCxnSpPr>
        <p:spPr>
          <a:xfrm flipV="1">
            <a:off x="5989941" y="1211283"/>
            <a:ext cx="3130308" cy="1102428"/>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7" name="Straight Arrow Connector 76">
            <a:extLst>
              <a:ext uri="{FF2B5EF4-FFF2-40B4-BE49-F238E27FC236}">
                <a16:creationId xmlns:a16="http://schemas.microsoft.com/office/drawing/2014/main" id="{96CC1A42-81F1-4739-82A8-AF0EDCF0DABE}"/>
              </a:ext>
            </a:extLst>
          </p:cNvPr>
          <p:cNvCxnSpPr>
            <a:cxnSpLocks/>
          </p:cNvCxnSpPr>
          <p:nvPr/>
        </p:nvCxnSpPr>
        <p:spPr>
          <a:xfrm flipH="1">
            <a:off x="6050689" y="1424121"/>
            <a:ext cx="3024249" cy="109436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82" name="TextBox 81">
            <a:extLst>
              <a:ext uri="{FF2B5EF4-FFF2-40B4-BE49-F238E27FC236}">
                <a16:creationId xmlns:a16="http://schemas.microsoft.com/office/drawing/2014/main" id="{E4CF63DD-3785-4C42-85D0-E2EA9B5DF47D}"/>
              </a:ext>
            </a:extLst>
          </p:cNvPr>
          <p:cNvSpPr txBox="1"/>
          <p:nvPr/>
        </p:nvSpPr>
        <p:spPr>
          <a:xfrm>
            <a:off x="6621389" y="2287065"/>
            <a:ext cx="2068195" cy="338554"/>
          </a:xfrm>
          <a:prstGeom prst="rect">
            <a:avLst/>
          </a:prstGeom>
          <a:noFill/>
        </p:spPr>
        <p:txBody>
          <a:bodyPr wrap="none" rtlCol="0">
            <a:spAutoFit/>
          </a:bodyPr>
          <a:lstStyle/>
          <a:p>
            <a:r>
              <a:rPr lang="en-US" sz="1600">
                <a:solidFill>
                  <a:schemeClr val="bg1"/>
                </a:solidFill>
              </a:rPr>
              <a:t>Metadata operations</a:t>
            </a:r>
          </a:p>
        </p:txBody>
      </p:sp>
      <p:cxnSp>
        <p:nvCxnSpPr>
          <p:cNvPr id="84" name="Straight Arrow Connector 83">
            <a:extLst>
              <a:ext uri="{FF2B5EF4-FFF2-40B4-BE49-F238E27FC236}">
                <a16:creationId xmlns:a16="http://schemas.microsoft.com/office/drawing/2014/main" id="{FD23EC15-3B8E-4430-9AD7-22547557E748}"/>
              </a:ext>
            </a:extLst>
          </p:cNvPr>
          <p:cNvCxnSpPr>
            <a:cxnSpLocks/>
          </p:cNvCxnSpPr>
          <p:nvPr/>
        </p:nvCxnSpPr>
        <p:spPr>
          <a:xfrm flipH="1">
            <a:off x="2690580" y="2800599"/>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88" name="Straight Arrow Connector 87">
            <a:extLst>
              <a:ext uri="{FF2B5EF4-FFF2-40B4-BE49-F238E27FC236}">
                <a16:creationId xmlns:a16="http://schemas.microsoft.com/office/drawing/2014/main" id="{87853C80-601C-4B4D-B794-CD787D93A0F3}"/>
              </a:ext>
            </a:extLst>
          </p:cNvPr>
          <p:cNvCxnSpPr>
            <a:cxnSpLocks/>
            <a:endCxn id="57" idx="2"/>
          </p:cNvCxnSpPr>
          <p:nvPr/>
        </p:nvCxnSpPr>
        <p:spPr>
          <a:xfrm flipV="1">
            <a:off x="1969301" y="3754130"/>
            <a:ext cx="8251395" cy="37070"/>
          </a:xfrm>
          <a:prstGeom prst="straightConnector1">
            <a:avLst/>
          </a:prstGeom>
          <a:ln>
            <a:solidFill>
              <a:srgbClr val="FFFF00"/>
            </a:solidFill>
            <a:tailEnd type="triangle"/>
          </a:ln>
        </p:spPr>
        <p:style>
          <a:lnRef idx="3">
            <a:schemeClr val="accent1"/>
          </a:lnRef>
          <a:fillRef idx="0">
            <a:schemeClr val="accent1"/>
          </a:fillRef>
          <a:effectRef idx="2">
            <a:schemeClr val="accent1"/>
          </a:effectRef>
          <a:fontRef idx="minor">
            <a:schemeClr val="tx1"/>
          </a:fontRef>
        </p:style>
      </p:cxnSp>
      <p:sp>
        <p:nvSpPr>
          <p:cNvPr id="14" name="TextBox 13">
            <a:extLst>
              <a:ext uri="{FF2B5EF4-FFF2-40B4-BE49-F238E27FC236}">
                <a16:creationId xmlns:a16="http://schemas.microsoft.com/office/drawing/2014/main" id="{95454A12-578F-41A8-90FC-B9C6B301FAEA}"/>
              </a:ext>
            </a:extLst>
          </p:cNvPr>
          <p:cNvSpPr txBox="1"/>
          <p:nvPr/>
        </p:nvSpPr>
        <p:spPr>
          <a:xfrm>
            <a:off x="158138" y="4512383"/>
            <a:ext cx="8916800"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D9D9D9"/>
                </a:solidFill>
                <a:effectLst/>
                <a:latin typeface="Calibri" panose="020F0502020204030204" pitchFamily="34" charset="0"/>
              </a:rPr>
              <a:t>URI: </a:t>
            </a:r>
            <a:r>
              <a:rPr lang="en-US" sz="2000" b="1">
                <a:solidFill>
                  <a:srgbClr val="D9D9D9"/>
                </a:solidFill>
                <a:effectLst/>
                <a:latin typeface="Calibri" panose="020F0502020204030204" pitchFamily="34" charset="0"/>
              </a:rPr>
              <a:t>rntbd</a:t>
            </a:r>
            <a:r>
              <a:rPr lang="en-US">
                <a:solidFill>
                  <a:srgbClr val="D9D9D9"/>
                </a:solidFill>
                <a:effectLst/>
                <a:latin typeface="Calibri" panose="020F0502020204030204" pitchFamily="34" charset="0"/>
              </a:rPr>
              <a:t>://</a:t>
            </a:r>
            <a:r>
              <a:rPr lang="en-US" sz="2000" b="1">
                <a:solidFill>
                  <a:srgbClr val="D9D9D9"/>
                </a:solidFill>
                <a:effectLst/>
                <a:latin typeface="Calibri" panose="020F0502020204030204" pitchFamily="34" charset="0"/>
              </a:rPr>
              <a:t>cdb-ms-prod-westus1-fd46</a:t>
            </a:r>
            <a:r>
              <a:rPr lang="en-US">
                <a:solidFill>
                  <a:srgbClr val="D9D9D9"/>
                </a:solidFill>
                <a:effectLst/>
                <a:latin typeface="Calibri" panose="020F0502020204030204" pitchFamily="34" charset="0"/>
              </a:rPr>
              <a:t>.documents.azure.com:</a:t>
            </a:r>
            <a:r>
              <a:rPr lang="en-US" b="1">
                <a:solidFill>
                  <a:srgbClr val="D9D9D9"/>
                </a:solidFill>
                <a:effectLst/>
                <a:latin typeface="Calibri" panose="020F0502020204030204" pitchFamily="34" charset="0"/>
              </a:rPr>
              <a:t>14086</a:t>
            </a:r>
            <a:r>
              <a:rPr lang="en-US">
                <a:solidFill>
                  <a:srgbClr val="D9D9D9"/>
                </a:solidFill>
                <a:effectLst/>
                <a:latin typeface="Calibri" panose="020F0502020204030204" pitchFamily="34" charset="0"/>
              </a:rPr>
              <a:t>/apps/82691bd9-bcdd-44c4-b8e3-0722d357b80d/services/ac1ae6f9-04d6-45b9-8862-f4c80ef7463b/</a:t>
            </a:r>
            <a:r>
              <a:rPr lang="en-US" b="1">
                <a:solidFill>
                  <a:srgbClr val="D9D9D9"/>
                </a:solidFill>
                <a:effectLst/>
                <a:latin typeface="Calibri" panose="020F0502020204030204" pitchFamily="34" charset="0"/>
              </a:rPr>
              <a:t>partitions</a:t>
            </a:r>
            <a:r>
              <a:rPr lang="en-US">
                <a:solidFill>
                  <a:srgbClr val="D9D9D9"/>
                </a:solidFill>
                <a:effectLst/>
                <a:latin typeface="Calibri" panose="020F0502020204030204" pitchFamily="34" charset="0"/>
              </a:rPr>
              <a:t>/4e5c5f30-8909-405b-91e4-5202d80e2eca/</a:t>
            </a:r>
            <a:r>
              <a:rPr lang="en-US" b="1">
                <a:solidFill>
                  <a:srgbClr val="D9D9D9"/>
                </a:solidFill>
                <a:effectLst/>
                <a:latin typeface="Calibri" panose="020F0502020204030204" pitchFamily="34" charset="0"/>
              </a:rPr>
              <a:t>replicas</a:t>
            </a:r>
            <a:r>
              <a:rPr lang="en-US">
                <a:solidFill>
                  <a:srgbClr val="D9D9D9"/>
                </a:solidFill>
                <a:effectLst/>
                <a:latin typeface="Calibri" panose="020F0502020204030204" pitchFamily="34" charset="0"/>
              </a:rPr>
              <a:t>/132487105498618604</a:t>
            </a:r>
            <a:r>
              <a:rPr lang="en-US" b="1">
                <a:solidFill>
                  <a:srgbClr val="C00000"/>
                </a:solidFill>
                <a:latin typeface="Calibri" panose="020F0502020204030204" pitchFamily="34" charset="0"/>
              </a:rPr>
              <a:t>s</a:t>
            </a:r>
            <a:r>
              <a:rPr lang="en-US">
                <a:solidFill>
                  <a:srgbClr val="D9D9D9"/>
                </a:solidFill>
                <a:effectLst/>
                <a:latin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D9D9D9"/>
                </a:solidFill>
                <a:effectLst/>
                <a:latin typeface="Calibri" panose="020F0502020204030204" pitchFamily="34" charset="0"/>
              </a:rPr>
              <a:t>Connection: 10.0.0.15</a:t>
            </a:r>
            <a:r>
              <a:rPr lang="en-US" b="1">
                <a:solidFill>
                  <a:srgbClr val="D9D9D9"/>
                </a:solidFill>
                <a:effectLst/>
                <a:latin typeface="Calibri" panose="020F0502020204030204" pitchFamily="34" charset="0"/>
              </a:rPr>
              <a:t>:50393</a:t>
            </a:r>
            <a:r>
              <a:rPr lang="en-US">
                <a:solidFill>
                  <a:srgbClr val="D9D9D9"/>
                </a:solidFill>
                <a:effectLst/>
                <a:latin typeface="Calibri" panose="020F0502020204030204" pitchFamily="34" charset="0"/>
              </a:rPr>
              <a:t> -&gt; 40.112.241.46</a:t>
            </a:r>
            <a:r>
              <a:rPr lang="en-US" b="1">
                <a:solidFill>
                  <a:srgbClr val="D9D9D9"/>
                </a:solidFill>
                <a:effectLst/>
                <a:latin typeface="Calibri" panose="020F0502020204030204" pitchFamily="34" charset="0"/>
              </a:rPr>
              <a:t>:14086</a:t>
            </a:r>
            <a:endParaRPr lang="en-US" sz="1200" b="1">
              <a:solidFill>
                <a:srgbClr val="D9D9D9"/>
              </a:solidFill>
            </a:endParaRPr>
          </a:p>
        </p:txBody>
      </p:sp>
    </p:spTree>
    <p:extLst>
      <p:ext uri="{BB962C8B-B14F-4D97-AF65-F5344CB8AC3E}">
        <p14:creationId xmlns:p14="http://schemas.microsoft.com/office/powerpoint/2010/main" val="359328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a:t>SDK + Service interaction</a:t>
            </a:r>
          </a:p>
        </p:txBody>
      </p:sp>
      <p:sp>
        <p:nvSpPr>
          <p:cNvPr id="19" name="Rectangle: Rounded Corners 18">
            <a:extLst>
              <a:ext uri="{FF2B5EF4-FFF2-40B4-BE49-F238E27FC236}">
                <a16:creationId xmlns:a16="http://schemas.microsoft.com/office/drawing/2014/main" id="{FF6FA096-2E87-414F-BE78-401861A57550}"/>
              </a:ext>
            </a:extLst>
          </p:cNvPr>
          <p:cNvSpPr/>
          <p:nvPr/>
        </p:nvSpPr>
        <p:spPr>
          <a:xfrm>
            <a:off x="308758" y="1603170"/>
            <a:ext cx="1888177" cy="7362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lient App</a:t>
            </a:r>
          </a:p>
        </p:txBody>
      </p:sp>
      <p:cxnSp>
        <p:nvCxnSpPr>
          <p:cNvPr id="21" name="Straight Connector 20">
            <a:extLst>
              <a:ext uri="{FF2B5EF4-FFF2-40B4-BE49-F238E27FC236}">
                <a16:creationId xmlns:a16="http://schemas.microsoft.com/office/drawing/2014/main" id="{1995DA39-C151-4DF6-AE9B-5975328D1A33}"/>
              </a:ext>
            </a:extLst>
          </p:cNvPr>
          <p:cNvCxnSpPr>
            <a:cxnSpLocks/>
          </p:cNvCxnSpPr>
          <p:nvPr/>
        </p:nvCxnSpPr>
        <p:spPr bwMode="auto">
          <a:xfrm>
            <a:off x="3919017" y="1493838"/>
            <a:ext cx="0" cy="480393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Rectangle: Rounded Corners 21">
            <a:extLst>
              <a:ext uri="{FF2B5EF4-FFF2-40B4-BE49-F238E27FC236}">
                <a16:creationId xmlns:a16="http://schemas.microsoft.com/office/drawing/2014/main" id="{B752C090-2C96-4E27-BC4B-EF9FFA822A7D}"/>
              </a:ext>
            </a:extLst>
          </p:cNvPr>
          <p:cNvSpPr/>
          <p:nvPr/>
        </p:nvSpPr>
        <p:spPr>
          <a:xfrm>
            <a:off x="4302437" y="1543426"/>
            <a:ext cx="1531530" cy="196675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mos DB Gateway</a:t>
            </a:r>
          </a:p>
        </p:txBody>
      </p:sp>
      <p:sp>
        <p:nvSpPr>
          <p:cNvPr id="26" name="Flowchart: Magnetic Disk 25">
            <a:extLst>
              <a:ext uri="{FF2B5EF4-FFF2-40B4-BE49-F238E27FC236}">
                <a16:creationId xmlns:a16="http://schemas.microsoft.com/office/drawing/2014/main" id="{273290DA-309D-4C0A-B968-000840071FFC}"/>
              </a:ext>
            </a:extLst>
          </p:cNvPr>
          <p:cNvSpPr/>
          <p:nvPr/>
        </p:nvSpPr>
        <p:spPr bwMode="auto">
          <a:xfrm>
            <a:off x="9169783" y="3348134"/>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P1</a:t>
            </a:r>
          </a:p>
        </p:txBody>
      </p:sp>
      <p:sp>
        <p:nvSpPr>
          <p:cNvPr id="62" name="Cloud 61">
            <a:extLst>
              <a:ext uri="{FF2B5EF4-FFF2-40B4-BE49-F238E27FC236}">
                <a16:creationId xmlns:a16="http://schemas.microsoft.com/office/drawing/2014/main" id="{BB04EE29-A103-4869-AE48-60667D1C3F49}"/>
              </a:ext>
            </a:extLst>
          </p:cNvPr>
          <p:cNvSpPr/>
          <p:nvPr/>
        </p:nvSpPr>
        <p:spPr>
          <a:xfrm>
            <a:off x="2995106" y="6008914"/>
            <a:ext cx="1888177" cy="736270"/>
          </a:xfrm>
          <a:prstGeom prst="clou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zure</a:t>
            </a:r>
          </a:p>
        </p:txBody>
      </p:sp>
      <p:sp>
        <p:nvSpPr>
          <p:cNvPr id="64" name="Flowchart: Magnetic Disk 63">
            <a:extLst>
              <a:ext uri="{FF2B5EF4-FFF2-40B4-BE49-F238E27FC236}">
                <a16:creationId xmlns:a16="http://schemas.microsoft.com/office/drawing/2014/main" id="{EEBA5BCD-4BCC-4615-A7F1-B9885BC31449}"/>
              </a:ext>
            </a:extLst>
          </p:cNvPr>
          <p:cNvSpPr/>
          <p:nvPr/>
        </p:nvSpPr>
        <p:spPr bwMode="auto">
          <a:xfrm>
            <a:off x="9280446" y="702338"/>
            <a:ext cx="942253" cy="1385532"/>
          </a:xfrm>
          <a:prstGeom prst="flowChartMagneticDisk">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306513" rtl="0" eaLnBrk="1" fontAlgn="base" latinLnBrk="0" hangingPunct="1">
              <a:lnSpc>
                <a:spcPct val="100000"/>
              </a:lnSpc>
              <a:spcBef>
                <a:spcPct val="0"/>
              </a:spcBef>
              <a:spcAft>
                <a:spcPct val="0"/>
              </a:spcAft>
              <a:buClrTx/>
              <a:buSzTx/>
              <a:buFontTx/>
              <a:buNone/>
              <a:tabLst/>
            </a:pPr>
            <a:r>
              <a:rPr kumimoji="0" lang="en-US" b="1" i="0" u="none" strike="noStrike" cap="none" normalizeH="0" baseline="0">
                <a:ln>
                  <a:noFill/>
                </a:ln>
                <a:solidFill>
                  <a:srgbClr val="D9D9D9"/>
                </a:solidFill>
                <a:effectLst/>
                <a:latin typeface="Segoe UI" pitchFamily="34" charset="0"/>
                <a:cs typeface="Arial" charset="0"/>
              </a:rPr>
              <a:t>Master</a:t>
            </a:r>
          </a:p>
        </p:txBody>
      </p:sp>
      <p:sp>
        <p:nvSpPr>
          <p:cNvPr id="67" name="TextBox 66">
            <a:extLst>
              <a:ext uri="{FF2B5EF4-FFF2-40B4-BE49-F238E27FC236}">
                <a16:creationId xmlns:a16="http://schemas.microsoft.com/office/drawing/2014/main" id="{D1C1BC2F-0892-457E-B2A3-FAE754558B62}"/>
              </a:ext>
            </a:extLst>
          </p:cNvPr>
          <p:cNvSpPr txBox="1"/>
          <p:nvPr/>
        </p:nvSpPr>
        <p:spPr>
          <a:xfrm>
            <a:off x="218428" y="2588205"/>
            <a:ext cx="3493147" cy="1107996"/>
          </a:xfrm>
          <a:prstGeom prst="rect">
            <a:avLst/>
          </a:prstGeom>
          <a:noFill/>
        </p:spPr>
        <p:txBody>
          <a:bodyPr wrap="square" rtlCol="0">
            <a:spAutoFit/>
          </a:bodyPr>
          <a:lstStyle/>
          <a:p>
            <a:r>
              <a:rPr lang="en-US" sz="1600">
                <a:solidFill>
                  <a:schemeClr val="bg1"/>
                </a:solidFill>
              </a:rPr>
              <a:t>New </a:t>
            </a:r>
            <a:r>
              <a:rPr lang="en-US" sz="1600" err="1">
                <a:solidFill>
                  <a:schemeClr val="bg1"/>
                </a:solidFill>
              </a:rPr>
              <a:t>CosmosClient</a:t>
            </a:r>
            <a:r>
              <a:rPr lang="en-US" sz="1600">
                <a:solidFill>
                  <a:schemeClr val="bg1"/>
                </a:solidFill>
              </a:rPr>
              <a:t>()</a:t>
            </a:r>
          </a:p>
          <a:p>
            <a:endParaRPr lang="en-US" sz="1600">
              <a:solidFill>
                <a:schemeClr val="bg1"/>
              </a:solidFill>
            </a:endParaRPr>
          </a:p>
          <a:p>
            <a:r>
              <a:rPr lang="en-US" b="1">
                <a:solidFill>
                  <a:schemeClr val="bg1"/>
                </a:solidFill>
              </a:rPr>
              <a:t>(Direct Mode - .NET/Java)</a:t>
            </a:r>
          </a:p>
          <a:p>
            <a:endParaRPr lang="en-US" sz="1600">
              <a:solidFill>
                <a:schemeClr val="bg1"/>
              </a:solidFill>
            </a:endParaRPr>
          </a:p>
        </p:txBody>
      </p:sp>
      <p:cxnSp>
        <p:nvCxnSpPr>
          <p:cNvPr id="69" name="Straight Arrow Connector 68">
            <a:extLst>
              <a:ext uri="{FF2B5EF4-FFF2-40B4-BE49-F238E27FC236}">
                <a16:creationId xmlns:a16="http://schemas.microsoft.com/office/drawing/2014/main" id="{2C399A27-654B-408A-8801-5B52B70952B5}"/>
              </a:ext>
            </a:extLst>
          </p:cNvPr>
          <p:cNvCxnSpPr>
            <a:cxnSpLocks/>
          </p:cNvCxnSpPr>
          <p:nvPr/>
        </p:nvCxnSpPr>
        <p:spPr>
          <a:xfrm>
            <a:off x="2690580" y="2600081"/>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4" name="Straight Arrow Connector 73">
            <a:extLst>
              <a:ext uri="{FF2B5EF4-FFF2-40B4-BE49-F238E27FC236}">
                <a16:creationId xmlns:a16="http://schemas.microsoft.com/office/drawing/2014/main" id="{E4D7171D-8D77-4831-AB91-833B1E4F0AB9}"/>
              </a:ext>
            </a:extLst>
          </p:cNvPr>
          <p:cNvCxnSpPr>
            <a:cxnSpLocks/>
          </p:cNvCxnSpPr>
          <p:nvPr/>
        </p:nvCxnSpPr>
        <p:spPr>
          <a:xfrm flipV="1">
            <a:off x="5989941" y="1211283"/>
            <a:ext cx="3130308" cy="1102428"/>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77" name="Straight Arrow Connector 76">
            <a:extLst>
              <a:ext uri="{FF2B5EF4-FFF2-40B4-BE49-F238E27FC236}">
                <a16:creationId xmlns:a16="http://schemas.microsoft.com/office/drawing/2014/main" id="{96CC1A42-81F1-4739-82A8-AF0EDCF0DABE}"/>
              </a:ext>
            </a:extLst>
          </p:cNvPr>
          <p:cNvCxnSpPr>
            <a:cxnSpLocks/>
          </p:cNvCxnSpPr>
          <p:nvPr/>
        </p:nvCxnSpPr>
        <p:spPr>
          <a:xfrm flipH="1">
            <a:off x="6050689" y="1424121"/>
            <a:ext cx="3024249" cy="109436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82" name="TextBox 81">
            <a:extLst>
              <a:ext uri="{FF2B5EF4-FFF2-40B4-BE49-F238E27FC236}">
                <a16:creationId xmlns:a16="http://schemas.microsoft.com/office/drawing/2014/main" id="{E4CF63DD-3785-4C42-85D0-E2EA9B5DF47D}"/>
              </a:ext>
            </a:extLst>
          </p:cNvPr>
          <p:cNvSpPr txBox="1"/>
          <p:nvPr/>
        </p:nvSpPr>
        <p:spPr>
          <a:xfrm>
            <a:off x="6621389" y="2287065"/>
            <a:ext cx="2068195" cy="338554"/>
          </a:xfrm>
          <a:prstGeom prst="rect">
            <a:avLst/>
          </a:prstGeom>
          <a:noFill/>
        </p:spPr>
        <p:txBody>
          <a:bodyPr wrap="none" rtlCol="0">
            <a:spAutoFit/>
          </a:bodyPr>
          <a:lstStyle/>
          <a:p>
            <a:r>
              <a:rPr lang="en-US" sz="1600" dirty="0">
                <a:solidFill>
                  <a:schemeClr val="bg1"/>
                </a:solidFill>
              </a:rPr>
              <a:t>Metadata operations</a:t>
            </a:r>
          </a:p>
        </p:txBody>
      </p:sp>
      <p:cxnSp>
        <p:nvCxnSpPr>
          <p:cNvPr id="84" name="Straight Arrow Connector 83">
            <a:extLst>
              <a:ext uri="{FF2B5EF4-FFF2-40B4-BE49-F238E27FC236}">
                <a16:creationId xmlns:a16="http://schemas.microsoft.com/office/drawing/2014/main" id="{FD23EC15-3B8E-4430-9AD7-22547557E748}"/>
              </a:ext>
            </a:extLst>
          </p:cNvPr>
          <p:cNvCxnSpPr>
            <a:cxnSpLocks/>
          </p:cNvCxnSpPr>
          <p:nvPr/>
        </p:nvCxnSpPr>
        <p:spPr>
          <a:xfrm flipH="1">
            <a:off x="2690580" y="2800599"/>
            <a:ext cx="1453908"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88" name="Straight Arrow Connector 87">
            <a:extLst>
              <a:ext uri="{FF2B5EF4-FFF2-40B4-BE49-F238E27FC236}">
                <a16:creationId xmlns:a16="http://schemas.microsoft.com/office/drawing/2014/main" id="{87853C80-601C-4B4D-B794-CD787D93A0F3}"/>
              </a:ext>
            </a:extLst>
          </p:cNvPr>
          <p:cNvCxnSpPr>
            <a:cxnSpLocks/>
          </p:cNvCxnSpPr>
          <p:nvPr/>
        </p:nvCxnSpPr>
        <p:spPr>
          <a:xfrm>
            <a:off x="1415740" y="3833077"/>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27" name="Straight Arrow Connector 26">
            <a:extLst>
              <a:ext uri="{FF2B5EF4-FFF2-40B4-BE49-F238E27FC236}">
                <a16:creationId xmlns:a16="http://schemas.microsoft.com/office/drawing/2014/main" id="{DD2CD7A2-A8C6-460E-8CD6-67D4DAA3D0D5}"/>
              </a:ext>
            </a:extLst>
          </p:cNvPr>
          <p:cNvCxnSpPr>
            <a:cxnSpLocks/>
          </p:cNvCxnSpPr>
          <p:nvPr/>
        </p:nvCxnSpPr>
        <p:spPr>
          <a:xfrm>
            <a:off x="1415739" y="3908381"/>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30" name="Straight Arrow Connector 29">
            <a:extLst>
              <a:ext uri="{FF2B5EF4-FFF2-40B4-BE49-F238E27FC236}">
                <a16:creationId xmlns:a16="http://schemas.microsoft.com/office/drawing/2014/main" id="{E4352FD4-73EB-4C7A-85BA-BACC0FFDD359}"/>
              </a:ext>
            </a:extLst>
          </p:cNvPr>
          <p:cNvCxnSpPr>
            <a:cxnSpLocks/>
          </p:cNvCxnSpPr>
          <p:nvPr/>
        </p:nvCxnSpPr>
        <p:spPr>
          <a:xfrm>
            <a:off x="1415738" y="3967785"/>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31" name="Straight Arrow Connector 30">
            <a:extLst>
              <a:ext uri="{FF2B5EF4-FFF2-40B4-BE49-F238E27FC236}">
                <a16:creationId xmlns:a16="http://schemas.microsoft.com/office/drawing/2014/main" id="{C0B7CB7E-B48B-4363-B817-7D86BC14F079}"/>
              </a:ext>
            </a:extLst>
          </p:cNvPr>
          <p:cNvCxnSpPr>
            <a:cxnSpLocks/>
          </p:cNvCxnSpPr>
          <p:nvPr/>
        </p:nvCxnSpPr>
        <p:spPr>
          <a:xfrm>
            <a:off x="1409801" y="4040900"/>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4" name="Straight Arrow Connector 3">
            <a:extLst>
              <a:ext uri="{FF2B5EF4-FFF2-40B4-BE49-F238E27FC236}">
                <a16:creationId xmlns:a16="http://schemas.microsoft.com/office/drawing/2014/main" id="{AD74D346-8685-4CEE-8640-7BC962943F0E}"/>
              </a:ext>
            </a:extLst>
          </p:cNvPr>
          <p:cNvCxnSpPr>
            <a:cxnSpLocks/>
          </p:cNvCxnSpPr>
          <p:nvPr/>
        </p:nvCxnSpPr>
        <p:spPr>
          <a:xfrm>
            <a:off x="1415738" y="4107811"/>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5" name="Straight Arrow Connector 4">
            <a:extLst>
              <a:ext uri="{FF2B5EF4-FFF2-40B4-BE49-F238E27FC236}">
                <a16:creationId xmlns:a16="http://schemas.microsoft.com/office/drawing/2014/main" id="{01566E56-2DA1-4F7D-85C8-239872CC0D27}"/>
              </a:ext>
            </a:extLst>
          </p:cNvPr>
          <p:cNvCxnSpPr>
            <a:cxnSpLocks/>
          </p:cNvCxnSpPr>
          <p:nvPr/>
        </p:nvCxnSpPr>
        <p:spPr>
          <a:xfrm>
            <a:off x="1415737" y="4167215"/>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6" name="Straight Arrow Connector 5">
            <a:extLst>
              <a:ext uri="{FF2B5EF4-FFF2-40B4-BE49-F238E27FC236}">
                <a16:creationId xmlns:a16="http://schemas.microsoft.com/office/drawing/2014/main" id="{6F54AB55-A147-4FAC-B59E-A8B33EEE3A1F}"/>
              </a:ext>
            </a:extLst>
          </p:cNvPr>
          <p:cNvCxnSpPr>
            <a:cxnSpLocks/>
          </p:cNvCxnSpPr>
          <p:nvPr/>
        </p:nvCxnSpPr>
        <p:spPr>
          <a:xfrm>
            <a:off x="1409800" y="4240330"/>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7" name="Straight Arrow Connector 6">
            <a:extLst>
              <a:ext uri="{FF2B5EF4-FFF2-40B4-BE49-F238E27FC236}">
                <a16:creationId xmlns:a16="http://schemas.microsoft.com/office/drawing/2014/main" id="{E9D249D8-BB4A-4071-83C9-3572BE774841}"/>
              </a:ext>
            </a:extLst>
          </p:cNvPr>
          <p:cNvCxnSpPr>
            <a:cxnSpLocks/>
          </p:cNvCxnSpPr>
          <p:nvPr/>
        </p:nvCxnSpPr>
        <p:spPr>
          <a:xfrm flipH="1">
            <a:off x="1379984" y="4563850"/>
            <a:ext cx="7716894" cy="5333"/>
          </a:xfrm>
          <a:prstGeom prst="straightConnector1">
            <a:avLst/>
          </a:prstGeom>
          <a:ln>
            <a:solidFill>
              <a:srgbClr val="FFFF00"/>
            </a:solidFill>
            <a:tailEnd type="triangle"/>
          </a:ln>
        </p:spPr>
        <p:style>
          <a:lnRef idx="3">
            <a:schemeClr val="accent1"/>
          </a:lnRef>
          <a:fillRef idx="0">
            <a:schemeClr val="accent1"/>
          </a:fillRef>
          <a:effectRef idx="2">
            <a:schemeClr val="accent1"/>
          </a:effectRef>
          <a:fontRef idx="minor">
            <a:schemeClr val="tx1"/>
          </a:fontRef>
        </p:style>
      </p:cxnSp>
      <p:sp>
        <p:nvSpPr>
          <p:cNvPr id="10" name="TextBox 9">
            <a:extLst>
              <a:ext uri="{FF2B5EF4-FFF2-40B4-BE49-F238E27FC236}">
                <a16:creationId xmlns:a16="http://schemas.microsoft.com/office/drawing/2014/main" id="{8DC1C39F-8A57-4641-81E2-285EB191EC19}"/>
              </a:ext>
            </a:extLst>
          </p:cNvPr>
          <p:cNvSpPr txBox="1"/>
          <p:nvPr/>
        </p:nvSpPr>
        <p:spPr>
          <a:xfrm>
            <a:off x="3976894" y="4670489"/>
            <a:ext cx="3908322" cy="338554"/>
          </a:xfrm>
          <a:prstGeom prst="rect">
            <a:avLst/>
          </a:prstGeom>
          <a:noFill/>
        </p:spPr>
        <p:txBody>
          <a:bodyPr wrap="square" rtlCol="0">
            <a:spAutoFit/>
          </a:bodyPr>
          <a:lstStyle/>
          <a:p>
            <a:r>
              <a:rPr lang="en-US" sz="1600" dirty="0">
                <a:solidFill>
                  <a:schemeClr val="bg1"/>
                </a:solidFill>
              </a:rPr>
              <a:t>Status code 429 (Throttling)</a:t>
            </a:r>
          </a:p>
        </p:txBody>
      </p:sp>
      <p:sp>
        <p:nvSpPr>
          <p:cNvPr id="13" name="TextBox 12">
            <a:extLst>
              <a:ext uri="{FF2B5EF4-FFF2-40B4-BE49-F238E27FC236}">
                <a16:creationId xmlns:a16="http://schemas.microsoft.com/office/drawing/2014/main" id="{052DC858-3765-44DD-83FD-8DBE615FAC24}"/>
              </a:ext>
            </a:extLst>
          </p:cNvPr>
          <p:cNvSpPr txBox="1"/>
          <p:nvPr/>
        </p:nvSpPr>
        <p:spPr>
          <a:xfrm>
            <a:off x="134014" y="3748512"/>
            <a:ext cx="1184940" cy="584775"/>
          </a:xfrm>
          <a:prstGeom prst="rect">
            <a:avLst/>
          </a:prstGeom>
          <a:noFill/>
        </p:spPr>
        <p:txBody>
          <a:bodyPr wrap="none" rtlCol="0">
            <a:spAutoFit/>
          </a:bodyPr>
          <a:lstStyle/>
          <a:p>
            <a:r>
              <a:rPr lang="en-US" sz="1600">
                <a:solidFill>
                  <a:schemeClr val="bg1"/>
                </a:solidFill>
              </a:rPr>
              <a:t>Multiple </a:t>
            </a:r>
          </a:p>
          <a:p>
            <a:r>
              <a:rPr lang="en-US" sz="1600">
                <a:solidFill>
                  <a:schemeClr val="bg1"/>
                </a:solidFill>
              </a:rPr>
              <a:t>Operations</a:t>
            </a:r>
          </a:p>
        </p:txBody>
      </p:sp>
      <p:sp>
        <p:nvSpPr>
          <p:cNvPr id="2" name="TextBox 1">
            <a:extLst>
              <a:ext uri="{FF2B5EF4-FFF2-40B4-BE49-F238E27FC236}">
                <a16:creationId xmlns:a16="http://schemas.microsoft.com/office/drawing/2014/main" id="{BFCAACF6-23A0-47F6-9D3D-AE4C1DFD4833}"/>
              </a:ext>
            </a:extLst>
          </p:cNvPr>
          <p:cNvSpPr txBox="1"/>
          <p:nvPr/>
        </p:nvSpPr>
        <p:spPr>
          <a:xfrm>
            <a:off x="8800722" y="2968797"/>
            <a:ext cx="1958293" cy="338554"/>
          </a:xfrm>
          <a:prstGeom prst="rect">
            <a:avLst/>
          </a:prstGeom>
          <a:noFill/>
        </p:spPr>
        <p:txBody>
          <a:bodyPr wrap="none" rtlCol="0">
            <a:spAutoFit/>
          </a:bodyPr>
          <a:lstStyle/>
          <a:p>
            <a:r>
              <a:rPr lang="en-US" sz="1600" dirty="0">
                <a:solidFill>
                  <a:schemeClr val="bg1"/>
                </a:solidFill>
              </a:rPr>
              <a:t>Request Units (RUs)</a:t>
            </a:r>
          </a:p>
        </p:txBody>
      </p:sp>
      <p:sp>
        <p:nvSpPr>
          <p:cNvPr id="3" name="Rectangle 2">
            <a:extLst>
              <a:ext uri="{FF2B5EF4-FFF2-40B4-BE49-F238E27FC236}">
                <a16:creationId xmlns:a16="http://schemas.microsoft.com/office/drawing/2014/main" id="{59CDE8AD-6EB9-CA9A-882A-9681FEBF1F96}"/>
              </a:ext>
            </a:extLst>
          </p:cNvPr>
          <p:cNvSpPr/>
          <p:nvPr/>
        </p:nvSpPr>
        <p:spPr>
          <a:xfrm>
            <a:off x="9352914" y="4994213"/>
            <a:ext cx="575112" cy="1407398"/>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 name="TextBox 7">
            <a:extLst>
              <a:ext uri="{FF2B5EF4-FFF2-40B4-BE49-F238E27FC236}">
                <a16:creationId xmlns:a16="http://schemas.microsoft.com/office/drawing/2014/main" id="{73BD5459-021B-0985-1ABA-82A4F3C24724}"/>
              </a:ext>
            </a:extLst>
          </p:cNvPr>
          <p:cNvSpPr txBox="1"/>
          <p:nvPr/>
        </p:nvSpPr>
        <p:spPr>
          <a:xfrm>
            <a:off x="9223966" y="6406630"/>
            <a:ext cx="833883" cy="338554"/>
          </a:xfrm>
          <a:prstGeom prst="rect">
            <a:avLst/>
          </a:prstGeom>
          <a:noFill/>
        </p:spPr>
        <p:txBody>
          <a:bodyPr wrap="none" rtlCol="0">
            <a:spAutoFit/>
          </a:bodyPr>
          <a:lstStyle/>
          <a:p>
            <a:r>
              <a:rPr lang="en-US" sz="1600" dirty="0">
                <a:solidFill>
                  <a:schemeClr val="bg1"/>
                </a:solidFill>
              </a:rPr>
              <a:t>Budget</a:t>
            </a:r>
          </a:p>
        </p:txBody>
      </p:sp>
      <p:sp>
        <p:nvSpPr>
          <p:cNvPr id="9" name="Rectangle 8">
            <a:extLst>
              <a:ext uri="{FF2B5EF4-FFF2-40B4-BE49-F238E27FC236}">
                <a16:creationId xmlns:a16="http://schemas.microsoft.com/office/drawing/2014/main" id="{8B0D6ECE-C871-F7E7-1605-4F1956F0D414}"/>
              </a:ext>
            </a:extLst>
          </p:cNvPr>
          <p:cNvSpPr/>
          <p:nvPr/>
        </p:nvSpPr>
        <p:spPr>
          <a:xfrm>
            <a:off x="9405292" y="4782310"/>
            <a:ext cx="470357" cy="158156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highlight>
                <a:srgbClr val="FF0000"/>
              </a:highlight>
            </a:endParaRPr>
          </a:p>
        </p:txBody>
      </p:sp>
      <p:sp>
        <p:nvSpPr>
          <p:cNvPr id="35" name="TextBox 34">
            <a:extLst>
              <a:ext uri="{FF2B5EF4-FFF2-40B4-BE49-F238E27FC236}">
                <a16:creationId xmlns:a16="http://schemas.microsoft.com/office/drawing/2014/main" id="{FF2C1DD5-181D-414B-09B5-1BAED856D136}"/>
              </a:ext>
            </a:extLst>
          </p:cNvPr>
          <p:cNvSpPr txBox="1"/>
          <p:nvPr/>
        </p:nvSpPr>
        <p:spPr>
          <a:xfrm>
            <a:off x="105220" y="5456083"/>
            <a:ext cx="9064563" cy="369332"/>
          </a:xfrm>
          <a:prstGeom prst="rect">
            <a:avLst/>
          </a:prstGeom>
          <a:solidFill>
            <a:schemeClr val="bg1"/>
          </a:solidFill>
        </p:spPr>
        <p:txBody>
          <a:bodyPr wrap="square">
            <a:spAutoFit/>
          </a:bodyPr>
          <a:lstStyle/>
          <a:p>
            <a:r>
              <a:rPr lang="en-US" dirty="0">
                <a:hlinkClick r:id="rId3"/>
              </a:rPr>
              <a:t>https://docs.microsoft.com/en-us/rest/api/cosmos-db/http-status-codes-for-cosmosdb</a:t>
            </a:r>
            <a:r>
              <a:rPr lang="en-US" dirty="0"/>
              <a:t> </a:t>
            </a:r>
          </a:p>
        </p:txBody>
      </p:sp>
      <p:sp>
        <p:nvSpPr>
          <p:cNvPr id="36" name="Rectangle 35">
            <a:extLst>
              <a:ext uri="{FF2B5EF4-FFF2-40B4-BE49-F238E27FC236}">
                <a16:creationId xmlns:a16="http://schemas.microsoft.com/office/drawing/2014/main" id="{F524BBFE-1D07-4A22-F1E9-68A3B60196C4}"/>
              </a:ext>
            </a:extLst>
          </p:cNvPr>
          <p:cNvSpPr/>
          <p:nvPr/>
        </p:nvSpPr>
        <p:spPr>
          <a:xfrm>
            <a:off x="10264801" y="4994213"/>
            <a:ext cx="575112" cy="1407398"/>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7" name="TextBox 36">
            <a:extLst>
              <a:ext uri="{FF2B5EF4-FFF2-40B4-BE49-F238E27FC236}">
                <a16:creationId xmlns:a16="http://schemas.microsoft.com/office/drawing/2014/main" id="{D78C90C5-D4DC-69AD-2898-5ABDB53688DE}"/>
              </a:ext>
            </a:extLst>
          </p:cNvPr>
          <p:cNvSpPr txBox="1"/>
          <p:nvPr/>
        </p:nvSpPr>
        <p:spPr>
          <a:xfrm>
            <a:off x="10135853" y="6406630"/>
            <a:ext cx="833883" cy="338554"/>
          </a:xfrm>
          <a:prstGeom prst="rect">
            <a:avLst/>
          </a:prstGeom>
          <a:noFill/>
        </p:spPr>
        <p:txBody>
          <a:bodyPr wrap="none" rtlCol="0">
            <a:spAutoFit/>
          </a:bodyPr>
          <a:lstStyle/>
          <a:p>
            <a:r>
              <a:rPr lang="en-US" sz="1600" dirty="0">
                <a:solidFill>
                  <a:schemeClr val="bg1"/>
                </a:solidFill>
              </a:rPr>
              <a:t>Budget</a:t>
            </a:r>
          </a:p>
        </p:txBody>
      </p:sp>
      <p:sp>
        <p:nvSpPr>
          <p:cNvPr id="38" name="Rectangle 37">
            <a:extLst>
              <a:ext uri="{FF2B5EF4-FFF2-40B4-BE49-F238E27FC236}">
                <a16:creationId xmlns:a16="http://schemas.microsoft.com/office/drawing/2014/main" id="{45BC1F91-268B-ABE4-F9D5-C492A9C02CB1}"/>
              </a:ext>
            </a:extLst>
          </p:cNvPr>
          <p:cNvSpPr/>
          <p:nvPr/>
        </p:nvSpPr>
        <p:spPr>
          <a:xfrm>
            <a:off x="10317179" y="5640636"/>
            <a:ext cx="470357" cy="72324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highlight>
                <a:srgbClr val="FF0000"/>
              </a:highlight>
            </a:endParaRPr>
          </a:p>
        </p:txBody>
      </p:sp>
      <p:cxnSp>
        <p:nvCxnSpPr>
          <p:cNvPr id="39" name="Straight Arrow Connector 38">
            <a:extLst>
              <a:ext uri="{FF2B5EF4-FFF2-40B4-BE49-F238E27FC236}">
                <a16:creationId xmlns:a16="http://schemas.microsoft.com/office/drawing/2014/main" id="{574392A2-C32C-BCC7-3146-1ACCDA8C4BEB}"/>
              </a:ext>
            </a:extLst>
          </p:cNvPr>
          <p:cNvCxnSpPr>
            <a:cxnSpLocks/>
          </p:cNvCxnSpPr>
          <p:nvPr/>
        </p:nvCxnSpPr>
        <p:spPr>
          <a:xfrm>
            <a:off x="1439615" y="5028077"/>
            <a:ext cx="7657263" cy="0"/>
          </a:xfrm>
          <a:prstGeom prst="straightConnector1">
            <a:avLst/>
          </a:prstGeom>
          <a:ln>
            <a:solidFill>
              <a:srgbClr val="0070C0"/>
            </a:solidFill>
            <a:tailEnd type="triangle"/>
          </a:ln>
        </p:spPr>
        <p:style>
          <a:lnRef idx="3">
            <a:schemeClr val="accent1"/>
          </a:lnRef>
          <a:fillRef idx="0">
            <a:schemeClr val="accent1"/>
          </a:fillRef>
          <a:effectRef idx="2">
            <a:schemeClr val="accent1"/>
          </a:effectRef>
          <a:fontRef idx="minor">
            <a:schemeClr val="tx1"/>
          </a:fontRef>
        </p:style>
      </p:cxnSp>
      <p:cxnSp>
        <p:nvCxnSpPr>
          <p:cNvPr id="40" name="Straight Arrow Connector 39">
            <a:extLst>
              <a:ext uri="{FF2B5EF4-FFF2-40B4-BE49-F238E27FC236}">
                <a16:creationId xmlns:a16="http://schemas.microsoft.com/office/drawing/2014/main" id="{02E80529-8E19-46C2-B17A-1160BF1FB6C5}"/>
              </a:ext>
            </a:extLst>
          </p:cNvPr>
          <p:cNvCxnSpPr>
            <a:cxnSpLocks/>
          </p:cNvCxnSpPr>
          <p:nvPr/>
        </p:nvCxnSpPr>
        <p:spPr>
          <a:xfrm flipH="1">
            <a:off x="1403355" y="5168269"/>
            <a:ext cx="7716894" cy="5333"/>
          </a:xfrm>
          <a:prstGeom prst="straightConnector1">
            <a:avLst/>
          </a:prstGeom>
          <a:ln>
            <a:solidFill>
              <a:srgbClr val="00B050"/>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60874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1000"/>
                                        <p:tgtEl>
                                          <p:spTgt spid="3"/>
                                        </p:tgtEl>
                                      </p:cBhvr>
                                    </p:animEffect>
                                    <p:anim calcmode="lin" valueType="num">
                                      <p:cBhvr>
                                        <p:cTn id="26" dur="1000" fill="hold"/>
                                        <p:tgtEl>
                                          <p:spTgt spid="3"/>
                                        </p:tgtEl>
                                        <p:attrNameLst>
                                          <p:attrName>ppt_x</p:attrName>
                                        </p:attrNameLst>
                                      </p:cBhvr>
                                      <p:tavLst>
                                        <p:tav tm="0">
                                          <p:val>
                                            <p:strVal val="#ppt_x"/>
                                          </p:val>
                                        </p:tav>
                                        <p:tav tm="100000">
                                          <p:val>
                                            <p:strVal val="#ppt_x"/>
                                          </p:val>
                                        </p:tav>
                                      </p:tavLst>
                                    </p:anim>
                                    <p:anim calcmode="lin" valueType="num">
                                      <p:cBhvr>
                                        <p:cTn id="27" dur="1000" fill="hold"/>
                                        <p:tgtEl>
                                          <p:spTgt spid="3"/>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1000"/>
                                        <p:tgtEl>
                                          <p:spTgt spid="8"/>
                                        </p:tgtEl>
                                      </p:cBhvr>
                                    </p:animEffect>
                                    <p:anim calcmode="lin" valueType="num">
                                      <p:cBhvr>
                                        <p:cTn id="31" dur="1000" fill="hold"/>
                                        <p:tgtEl>
                                          <p:spTgt spid="8"/>
                                        </p:tgtEl>
                                        <p:attrNameLst>
                                          <p:attrName>ppt_x</p:attrName>
                                        </p:attrNameLst>
                                      </p:cBhvr>
                                      <p:tavLst>
                                        <p:tav tm="0">
                                          <p:val>
                                            <p:strVal val="#ppt_x"/>
                                          </p:val>
                                        </p:tav>
                                        <p:tav tm="100000">
                                          <p:val>
                                            <p:strVal val="#ppt_x"/>
                                          </p:val>
                                        </p:tav>
                                      </p:tavLst>
                                    </p:anim>
                                    <p:anim calcmode="lin" valueType="num">
                                      <p:cBhvr>
                                        <p:cTn id="32" dur="1000" fill="hold"/>
                                        <p:tgtEl>
                                          <p:spTgt spid="8"/>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1000"/>
                                        <p:tgtEl>
                                          <p:spTgt spid="10"/>
                                        </p:tgtEl>
                                      </p:cBhvr>
                                    </p:animEffect>
                                    <p:anim calcmode="lin" valueType="num">
                                      <p:cBhvr>
                                        <p:cTn id="48" dur="1000" fill="hold"/>
                                        <p:tgtEl>
                                          <p:spTgt spid="10"/>
                                        </p:tgtEl>
                                        <p:attrNameLst>
                                          <p:attrName>ppt_x</p:attrName>
                                        </p:attrNameLst>
                                      </p:cBhvr>
                                      <p:tavLst>
                                        <p:tav tm="0">
                                          <p:val>
                                            <p:strVal val="#ppt_x"/>
                                          </p:val>
                                        </p:tav>
                                        <p:tav tm="100000">
                                          <p:val>
                                            <p:strVal val="#ppt_x"/>
                                          </p:val>
                                        </p:tav>
                                      </p:tavLst>
                                    </p:anim>
                                    <p:anim calcmode="lin" valueType="num">
                                      <p:cBhvr>
                                        <p:cTn id="4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39"/>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1000"/>
                                        <p:tgtEl>
                                          <p:spTgt spid="36"/>
                                        </p:tgtEl>
                                      </p:cBhvr>
                                    </p:animEffect>
                                    <p:anim calcmode="lin" valueType="num">
                                      <p:cBhvr>
                                        <p:cTn id="59" dur="1000" fill="hold"/>
                                        <p:tgtEl>
                                          <p:spTgt spid="36"/>
                                        </p:tgtEl>
                                        <p:attrNameLst>
                                          <p:attrName>ppt_x</p:attrName>
                                        </p:attrNameLst>
                                      </p:cBhvr>
                                      <p:tavLst>
                                        <p:tav tm="0">
                                          <p:val>
                                            <p:strVal val="#ppt_x"/>
                                          </p:val>
                                        </p:tav>
                                        <p:tav tm="100000">
                                          <p:val>
                                            <p:strVal val="#ppt_x"/>
                                          </p:val>
                                        </p:tav>
                                      </p:tavLst>
                                    </p:anim>
                                    <p:anim calcmode="lin" valueType="num">
                                      <p:cBhvr>
                                        <p:cTn id="60" dur="1000" fill="hold"/>
                                        <p:tgtEl>
                                          <p:spTgt spid="36"/>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fade">
                                      <p:cBhvr>
                                        <p:cTn id="63" dur="1000"/>
                                        <p:tgtEl>
                                          <p:spTgt spid="37"/>
                                        </p:tgtEl>
                                      </p:cBhvr>
                                    </p:animEffect>
                                    <p:anim calcmode="lin" valueType="num">
                                      <p:cBhvr>
                                        <p:cTn id="64" dur="1000" fill="hold"/>
                                        <p:tgtEl>
                                          <p:spTgt spid="37"/>
                                        </p:tgtEl>
                                        <p:attrNameLst>
                                          <p:attrName>ppt_x</p:attrName>
                                        </p:attrNameLst>
                                      </p:cBhvr>
                                      <p:tavLst>
                                        <p:tav tm="0">
                                          <p:val>
                                            <p:strVal val="#ppt_x"/>
                                          </p:val>
                                        </p:tav>
                                        <p:tav tm="100000">
                                          <p:val>
                                            <p:strVal val="#ppt_x"/>
                                          </p:val>
                                        </p:tav>
                                      </p:tavLst>
                                    </p:anim>
                                    <p:anim calcmode="lin" valueType="num">
                                      <p:cBhvr>
                                        <p:cTn id="65" dur="1000" fill="hold"/>
                                        <p:tgtEl>
                                          <p:spTgt spid="37"/>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fade">
                                      <p:cBhvr>
                                        <p:cTn id="68" dur="1000"/>
                                        <p:tgtEl>
                                          <p:spTgt spid="38"/>
                                        </p:tgtEl>
                                      </p:cBhvr>
                                    </p:animEffect>
                                    <p:anim calcmode="lin" valueType="num">
                                      <p:cBhvr>
                                        <p:cTn id="69" dur="1000" fill="hold"/>
                                        <p:tgtEl>
                                          <p:spTgt spid="38"/>
                                        </p:tgtEl>
                                        <p:attrNameLst>
                                          <p:attrName>ppt_x</p:attrName>
                                        </p:attrNameLst>
                                      </p:cBhvr>
                                      <p:tavLst>
                                        <p:tav tm="0">
                                          <p:val>
                                            <p:strVal val="#ppt_x"/>
                                          </p:val>
                                        </p:tav>
                                        <p:tav tm="100000">
                                          <p:val>
                                            <p:strVal val="#ppt_x"/>
                                          </p:val>
                                        </p:tav>
                                      </p:tavLst>
                                    </p:anim>
                                    <p:anim calcmode="lin" valueType="num">
                                      <p:cBhvr>
                                        <p:cTn id="70"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000"/>
                                        <p:tgtEl>
                                          <p:spTgt spid="40"/>
                                        </p:tgtEl>
                                      </p:cBhvr>
                                    </p:animEffect>
                                    <p:anim calcmode="lin" valueType="num">
                                      <p:cBhvr>
                                        <p:cTn id="76" dur="1000" fill="hold"/>
                                        <p:tgtEl>
                                          <p:spTgt spid="40"/>
                                        </p:tgtEl>
                                        <p:attrNameLst>
                                          <p:attrName>ppt_x</p:attrName>
                                        </p:attrNameLst>
                                      </p:cBhvr>
                                      <p:tavLst>
                                        <p:tav tm="0">
                                          <p:val>
                                            <p:strVal val="#ppt_x"/>
                                          </p:val>
                                        </p:tav>
                                        <p:tav tm="100000">
                                          <p:val>
                                            <p:strVal val="#ppt_x"/>
                                          </p:val>
                                        </p:tav>
                                      </p:tavLst>
                                    </p:anim>
                                    <p:anim calcmode="lin" valueType="num">
                                      <p:cBhvr>
                                        <p:cTn id="77"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6" presetClass="entr" presetSubtype="16" fill="hold" grpId="0" nodeType="clickEffect">
                                  <p:stCondLst>
                                    <p:cond delay="0"/>
                                  </p:stCondLst>
                                  <p:childTnLst>
                                    <p:set>
                                      <p:cBhvr>
                                        <p:cTn id="81" dur="1" fill="hold">
                                          <p:stCondLst>
                                            <p:cond delay="0"/>
                                          </p:stCondLst>
                                        </p:cTn>
                                        <p:tgtEl>
                                          <p:spTgt spid="35"/>
                                        </p:tgtEl>
                                        <p:attrNameLst>
                                          <p:attrName>style.visibility</p:attrName>
                                        </p:attrNameLst>
                                      </p:cBhvr>
                                      <p:to>
                                        <p:strVal val="visible"/>
                                      </p:to>
                                    </p:set>
                                    <p:animEffect transition="in" filter="circle(in)">
                                      <p:cBhvr>
                                        <p:cTn id="82" dur="2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3" grpId="0" animBg="1"/>
      <p:bldP spid="8" grpId="0"/>
      <p:bldP spid="9" grpId="0" animBg="1"/>
      <p:bldP spid="35" grpId="0" animBg="1"/>
      <p:bldP spid="36" grpId="0" animBg="1"/>
      <p:bldP spid="37" grpId="0"/>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solidFill>
      </a:spPr>
      <a:bodyPr wrap="square" anchor="ctr">
        <a:noAutofit/>
      </a:bodyPr>
      <a:lstStyle>
        <a:defPPr algn="ctr">
          <a:defRPr sz="2000" dirty="0" smtClean="0">
            <a:solidFill>
              <a:schemeClr val="bg2"/>
            </a:solidFill>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uild 2019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3.xml><?xml version="1.0" encoding="utf-8"?>
<a:theme xmlns:a="http://schemas.openxmlformats.org/drawingml/2006/main" name="Sustainability All-up">
  <a:themeElements>
    <a:clrScheme name="Custom 10">
      <a:dk1>
        <a:srgbClr val="000000"/>
      </a:dk1>
      <a:lt1>
        <a:srgbClr val="FFFFFF"/>
      </a:lt1>
      <a:dk2>
        <a:srgbClr val="044C70"/>
      </a:dk2>
      <a:lt2>
        <a:srgbClr val="E6E6E6"/>
      </a:lt2>
      <a:accent1>
        <a:srgbClr val="30E5D0"/>
      </a:accent1>
      <a:accent2>
        <a:srgbClr val="008575"/>
      </a:accent2>
      <a:accent3>
        <a:srgbClr val="044C70"/>
      </a:accent3>
      <a:accent4>
        <a:srgbClr val="30E5D0"/>
      </a:accent4>
      <a:accent5>
        <a:srgbClr val="0078D4"/>
      </a:accent5>
      <a:accent6>
        <a:srgbClr val="D2D2D2"/>
      </a:accent6>
      <a:hlink>
        <a:srgbClr val="30E5D0"/>
      </a:hlink>
      <a:folHlink>
        <a:srgbClr val="30E5D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Template Starter Teal - February 2020.potx" id="{ED1A6496-A683-46AB-8E23-C2F28A40B1A7}" vid="{6017B456-6C7F-4CBA-A12B-A3732CAB3A98}"/>
    </a:ext>
  </a:extLst>
</a:theme>
</file>

<file path=ppt/theme/theme4.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61D8F8C124124C824602823BA17581" ma:contentTypeVersion="11" ma:contentTypeDescription="Create a new document." ma:contentTypeScope="" ma:versionID="382920fa124443de74291e8cc8d28bfb">
  <xsd:schema xmlns:xsd="http://www.w3.org/2001/XMLSchema" xmlns:xs="http://www.w3.org/2001/XMLSchema" xmlns:p="http://schemas.microsoft.com/office/2006/metadata/properties" xmlns:ns2="3b60f0d4-f6f0-4529-94be-f9d4917a93cb" xmlns:ns3="19d49723-3193-485b-a17e-e6d29cfeb1c6" targetNamespace="http://schemas.microsoft.com/office/2006/metadata/properties" ma:root="true" ma:fieldsID="3cc7b4b6183e57972ff68de632ceb06d" ns2:_="" ns3:_="">
    <xsd:import namespace="3b60f0d4-f6f0-4529-94be-f9d4917a93cb"/>
    <xsd:import namespace="19d49723-3193-485b-a17e-e6d29cfeb1c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60f0d4-f6f0-4529-94be-f9d4917a93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9d49723-3193-485b-a17e-e6d29cfeb1c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3b60f0d4-f6f0-4529-94be-f9d4917a93cb" xsi:nil="true"/>
    <SharedWithUsers xmlns="19d49723-3193-485b-a17e-e6d29cfeb1c6">
      <UserInfo>
        <DisplayName>Angela Japuntich</DisplayName>
        <AccountId>3147</AccountId>
        <AccountType/>
      </UserInfo>
      <UserInfo>
        <DisplayName>Karin Smith</DisplayName>
        <AccountId>6293</AccountId>
        <AccountType/>
      </UserInfo>
      <UserInfo>
        <DisplayName>Patti Foster</DisplayName>
        <AccountId>6507</AccountId>
        <AccountType/>
      </UserInfo>
      <UserInfo>
        <DisplayName>Matt Brown</DisplayName>
        <AccountId>7172</AccountId>
        <AccountType/>
      </UserInfo>
      <UserInfo>
        <DisplayName>Dennis Karlinsky</DisplayName>
        <AccountId>42373</AccountId>
        <AccountType/>
      </UserInfo>
    </SharedWithUsers>
  </documentManagement>
</p:properties>
</file>

<file path=customXml/itemProps1.xml><?xml version="1.0" encoding="utf-8"?>
<ds:datastoreItem xmlns:ds="http://schemas.openxmlformats.org/officeDocument/2006/customXml" ds:itemID="{922254FA-AB73-47D3-BD24-A9D94DC9F71D}">
  <ds:schemaRefs>
    <ds:schemaRef ds:uri="19d49723-3193-485b-a17e-e6d29cfeb1c6"/>
    <ds:schemaRef ds:uri="3b60f0d4-f6f0-4529-94be-f9d4917a93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E63C32-B962-45F9-91FF-0963A9D11BBF}">
  <ds:schemaRefs>
    <ds:schemaRef ds:uri="http://schemas.microsoft.com/sharepoint/v3/contenttype/forms"/>
  </ds:schemaRefs>
</ds:datastoreItem>
</file>

<file path=customXml/itemProps3.xml><?xml version="1.0" encoding="utf-8"?>
<ds:datastoreItem xmlns:ds="http://schemas.openxmlformats.org/officeDocument/2006/customXml" ds:itemID="{C6E0FE64-1755-47CF-80F7-043F670F2434}">
  <ds:schemaRefs>
    <ds:schemaRef ds:uri="19d49723-3193-485b-a17e-e6d29cfeb1c6"/>
    <ds:schemaRef ds:uri="3b60f0d4-f6f0-4529-94be-f9d4917a93c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3602</TotalTime>
  <Words>1046</Words>
  <Application>Microsoft Office PowerPoint</Application>
  <PresentationFormat>Widescreen</PresentationFormat>
  <Paragraphs>259</Paragraphs>
  <Slides>27</Slides>
  <Notes>17</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0" baseType="lpstr">
      <vt:lpstr>-apple-system</vt:lpstr>
      <vt:lpstr>Arial</vt:lpstr>
      <vt:lpstr>Calibri</vt:lpstr>
      <vt:lpstr>Consolas</vt:lpstr>
      <vt:lpstr>Segoe UI</vt:lpstr>
      <vt:lpstr>Segoe UI Semibold</vt:lpstr>
      <vt:lpstr>Wingdings</vt:lpstr>
      <vt:lpstr>1_Azure Design Template</vt:lpstr>
      <vt:lpstr>Build 2019 Black</vt:lpstr>
      <vt:lpstr>Sustainability All-up</vt:lpstr>
      <vt:lpstr>Dynamics 365</vt:lpstr>
      <vt:lpstr>1_Dynamics 365</vt:lpstr>
      <vt:lpstr>think-cell Slide</vt:lpstr>
      <vt:lpstr>Cosmos DB Architecture and partitioning </vt:lpstr>
      <vt:lpstr>Agenda  Cosmos DB architecture SDK interaction with Cosmos DB Partition design and scalability Q&amp;A</vt:lpstr>
      <vt:lpstr>Azure Cosmos DB is a fully managed NoSQL database service for modern app development. Get guaranteed single-digit millisecond response times and 99.999-percent availability, backed by SLAs, automatic and instant scalability, and open-source APIs for MongoDB and Cassandra.</vt:lpstr>
      <vt:lpstr>Resource model</vt:lpstr>
      <vt:lpstr>Overview</vt:lpstr>
      <vt:lpstr>SDK</vt:lpstr>
      <vt:lpstr>SDK + Service interaction</vt:lpstr>
      <vt:lpstr>SDK + Service interaction</vt:lpstr>
      <vt:lpstr>SDK + Service interaction</vt:lpstr>
      <vt:lpstr>Partitioning</vt:lpstr>
      <vt:lpstr>PowerPoint Presentation</vt:lpstr>
      <vt:lpstr>Partition design</vt:lpstr>
      <vt:lpstr>Partition design</vt:lpstr>
      <vt:lpstr>Partition design</vt:lpstr>
      <vt:lpstr>Partition design</vt:lpstr>
      <vt:lpstr>Partition key range</vt:lpstr>
      <vt:lpstr>Portal warning – throughput increase</vt:lpstr>
      <vt:lpstr>Hot partition</vt:lpstr>
      <vt:lpstr>Monitoring Insights</vt:lpstr>
      <vt:lpstr>Log Analytics</vt:lpstr>
      <vt:lpstr>Partition design</vt:lpstr>
      <vt:lpstr>Conclusion</vt:lpstr>
      <vt:lpstr>What is next?  Tell us what you think at aka.ms/ftalive-feedback  Help us improve this delivery format and let us know if this has been useful.  Visit aka.ms/ftalive to sign up for other topics - they are open to everyone.  </vt:lpstr>
      <vt:lpstr>Questions?  luciano.moreira@microsoft.com </vt:lpstr>
      <vt:lpstr>Appendix</vt:lpstr>
      <vt:lpstr>Inverted index</vt:lpstr>
      <vt:lpstr>Scenari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eld Readiness Deck</dc:title>
  <dc:creator>Diego Villanueva Perez</dc:creator>
  <cp:keywords>Azure FastTrack; FastTrack for Azure</cp:keywords>
  <cp:lastModifiedBy>Luciano Moreira</cp:lastModifiedBy>
  <cp:revision>3</cp:revision>
  <dcterms:created xsi:type="dcterms:W3CDTF">2018-09-18T21:31:25Z</dcterms:created>
  <dcterms:modified xsi:type="dcterms:W3CDTF">2022-06-17T17:2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ivilla@microsoft.com</vt:lpwstr>
  </property>
  <property fmtid="{D5CDD505-2E9C-101B-9397-08002B2CF9AE}" pid="5" name="MSIP_Label_f42aa342-8706-4288-bd11-ebb85995028c_SetDate">
    <vt:lpwstr>2018-09-18T21:34:40.050022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BE61D8F8C124124C824602823BA17581</vt:lpwstr>
  </property>
  <property fmtid="{D5CDD505-2E9C-101B-9397-08002B2CF9AE}" pid="11" name="NewsType">
    <vt:lpwstr/>
  </property>
  <property fmtid="{D5CDD505-2E9C-101B-9397-08002B2CF9AE}" pid="12" name="TaxKeyword">
    <vt:lpwstr>3188;#FastTrack for Azure|9fab013d-a6c4-46e4-a4cd-c13d077648b7;#2158;#Azure FastTrack|67855bd3-70e5-4cf2-ad48-d81e73dab69d</vt:lpwstr>
  </property>
  <property fmtid="{D5CDD505-2E9C-101B-9397-08002B2CF9AE}" pid="13" name="_dlc_policyId">
    <vt:lpwstr>0x0101000E4CB7077FEE4FF7AE86D4A500EEC780030016C849C62B10EB41ACA8C7EEDEF40BB20099ECF64382448D48A56095091C66B1A9|-661092312</vt:lpwstr>
  </property>
  <property fmtid="{D5CDD505-2E9C-101B-9397-08002B2CF9AE}" pid="14" name="LastSharedByUser">
    <vt:lpwstr>cskack@microsoft.com</vt:lpwstr>
  </property>
  <property fmtid="{D5CDD505-2E9C-101B-9397-08002B2CF9AE}" pid="15" name="Region">
    <vt:lpwstr/>
  </property>
  <property fmtid="{D5CDD505-2E9C-101B-9397-08002B2CF9AE}" pid="16" name="Confidentiality">
    <vt:lpwstr>5;#internal users|461efa83-0283-486a-a8d5-943328f3693f</vt:lpwstr>
  </property>
  <property fmtid="{D5CDD505-2E9C-101B-9397-08002B2CF9AE}" pid="17" name="ItemType">
    <vt:lpwstr>212;#readiness|0bad9107-5243-4424-8599-de9537dda9af;#63;#resources|232fdc5c-cdcc-466b-a715-e7eb05349a13</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1628;#Gear Up|5bd03d8b-c198-4367-bd72-be9dad12d703;#21;#Intelligent Cloud|adc2fe87-c79a-4ded-a449-3f86b954069d;#20;#Microsoft Azure Domain|d600a391-d529-4311-892b-2c05c1ab2538;#36;#Worldwide Readiness|c6595b84-b463-470a-bb46-2a47364645be</vt:lpwstr>
  </property>
  <property fmtid="{D5CDD505-2E9C-101B-9397-08002B2CF9AE}" pid="22" name="ExperienceContentType">
    <vt:lpwstr/>
  </property>
  <property fmtid="{D5CDD505-2E9C-101B-9397-08002B2CF9AE}" pid="23" name="BusinessArchitecture">
    <vt:lpwstr>2546;#Applications and Infrastructure|f69679d5-ce87-4413-9040-82ea79c5c527</vt:lpwstr>
  </property>
  <property fmtid="{D5CDD505-2E9C-101B-9397-08002B2CF9AE}" pid="24" name="LastSharedByTime">
    <vt:filetime>2017-11-10T17:53:21Z</vt:filetime>
  </property>
  <property fmtid="{D5CDD505-2E9C-101B-9397-08002B2CF9AE}" pid="25" name="Products">
    <vt:lpwstr>80;#Azure platform|df6aaec2-d07c-4319-b510-15a691aea35b;#26;#Azure|669a3112-5edf-444b-a003-630063601f07</vt:lpwstr>
  </property>
  <property fmtid="{D5CDD505-2E9C-101B-9397-08002B2CF9AE}" pid="26" name="l6f004f21209409da86a713c0f24627d">
    <vt:lpwstr/>
  </property>
  <property fmtid="{D5CDD505-2E9C-101B-9397-08002B2CF9AE}" pid="27" name="DocVizMetadataToken">
    <vt:lpwstr>600x450x1</vt:lpwstr>
  </property>
  <property fmtid="{D5CDD505-2E9C-101B-9397-08002B2CF9AE}" pid="28" name="MSProductsTaxHTField0">
    <vt:lpwstr/>
  </property>
  <property fmtid="{D5CDD505-2E9C-101B-9397-08002B2CF9AE}" pid="29" name="e8080b0481964c759b2c36ae49591b31">
    <vt:lpwstr/>
  </property>
  <property fmtid="{D5CDD505-2E9C-101B-9397-08002B2CF9AE}" pid="30" name="_docset_NoMedatataSyncRequired">
    <vt:lpwstr>False</vt:lpwstr>
  </property>
  <property fmtid="{D5CDD505-2E9C-101B-9397-08002B2CF9AE}" pid="31" name="TechnicalLevel">
    <vt:lpwstr>3067;#200 (intermediate)|855c9113-a119-44e7-b3de-bccffe25ed46</vt:lpwstr>
  </property>
  <property fmtid="{D5CDD505-2E9C-101B-9397-08002B2CF9AE}" pid="32" name="MSIP_Label_f42aa342-8706-4288-bd11-ebb85995028c_SetBy">
    <vt:lpwstr>mirlee@microsoft.com</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MSIP_Label_f42aa342-8706-4288-bd11-ebb85995028c_Ref">
    <vt:lpwstr>https://api.informationprotection.azure.com/api/72f988bf-86f1-41af-91ab-2d7cd011db47</vt:lpwstr>
  </property>
  <property fmtid="{D5CDD505-2E9C-101B-9397-08002B2CF9AE}" pid="37" name="NewsTopic">
    <vt:lpwstr/>
  </property>
  <property fmtid="{D5CDD505-2E9C-101B-9397-08002B2CF9AE}" pid="38" name="SharedWithUsers">
    <vt:lpwstr>3147;#Angela Japuntich;#6293;#Karin Smith;#6507;#Patti Foster;#7172;#Matt Brown;#42373;#Dennis Karlinsky</vt:lpwstr>
  </property>
  <property fmtid="{D5CDD505-2E9C-101B-9397-08002B2CF9AE}" pid="39" name="Roles">
    <vt:lpwstr>656;#Sales|72627068-acd7-4c1a-8b95-a0256be5dc9f;#361;#Technical Sales|831f7989-43a4-4e48-852a-a5355978f47f;#1027;#Business Manager|4628e77e-017f-489a-b15f-32cb919d45b0;#973;#Services|31216a1b-ed7a-4548-8e47-1aa2e6048472</vt:lpwstr>
  </property>
  <property fmtid="{D5CDD505-2E9C-101B-9397-08002B2CF9AE}" pid="40"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1" name="NewsSource">
    <vt:lpwstr/>
  </property>
  <property fmtid="{D5CDD505-2E9C-101B-9397-08002B2CF9AE}" pid="42" name="SMSGTags">
    <vt:lpwstr/>
  </property>
  <property fmtid="{D5CDD505-2E9C-101B-9397-08002B2CF9AE}" pid="43" name="_dlc_DocIdItemGuid">
    <vt:lpwstr>c9bda080-c3bd-4f46-a7cd-e87c61dce205</vt:lpwstr>
  </property>
  <property fmtid="{D5CDD505-2E9C-101B-9397-08002B2CF9AE}" pid="44" name="MSPhysicalGeography">
    <vt:lpwstr/>
  </property>
  <property fmtid="{D5CDD505-2E9C-101B-9397-08002B2CF9AE}" pid="45" name="j3562c58ee414e028925bc902cfc01a1">
    <vt:lpwstr/>
  </property>
  <property fmtid="{D5CDD505-2E9C-101B-9397-08002B2CF9AE}" pid="46" name="EnterpriseDomainTags">
    <vt:lpwstr/>
  </property>
  <property fmtid="{D5CDD505-2E9C-101B-9397-08002B2CF9AE}" pid="47" name="la4444b61d19467597d63190b69ac227">
    <vt:lpwstr/>
  </property>
  <property fmtid="{D5CDD505-2E9C-101B-9397-08002B2CF9AE}" pid="48" name="ActivitiesAndPrograms">
    <vt:lpwstr>1886;#Cloud Infrastructure Management|bf62fa1f-b2ce-4d25-abaa-82c31ee6dc31;#1926;#FastTrack|2208b171-6759-4c7b-b5da-df9901bca7ff;#2236;#Intelligent Cloud|657064bb-35a2-46dd-babb-ff4e84e62f8c</vt:lpwstr>
  </property>
  <property fmtid="{D5CDD505-2E9C-101B-9397-08002B2CF9AE}" pid="49" name="Segments">
    <vt:lpwstr/>
  </property>
  <property fmtid="{D5CDD505-2E9C-101B-9397-08002B2CF9AE}" pid="50" name="Partners">
    <vt:lpwstr/>
  </property>
  <property fmtid="{D5CDD505-2E9C-101B-9397-08002B2CF9AE}" pid="51" name="Topics">
    <vt:lpwstr>30;#hub subset|c6bfd112-b986-4a0a-aa8d-90e767bfdfa6;#2493;#100 (beginner)|7d022d07-ff67-4af8-910d-8ea6b46b5908</vt:lpwstr>
  </property>
  <property fmtid="{D5CDD505-2E9C-101B-9397-08002B2CF9AE}" pid="52" name="Groups">
    <vt:lpwstr>31;#Azure Marketing|0958c357-5252-473f-8b4e-42f27525a99d</vt:lpwstr>
  </property>
  <property fmtid="{D5CDD505-2E9C-101B-9397-08002B2CF9AE}" pid="53" name="Languages">
    <vt:lpwstr/>
  </property>
  <property fmtid="{D5CDD505-2E9C-101B-9397-08002B2CF9AE}" pid="54" name="of67e5d4b76f4a9db8769983fda9cec0">
    <vt:lpwstr/>
  </property>
  <property fmtid="{D5CDD505-2E9C-101B-9397-08002B2CF9AE}" pid="55" name="SMSG Items">
    <vt:lpwstr>3091;#documents|e037ed84-7d8e-4cbb-9c8f-61e80301a44f</vt:lpwstr>
  </property>
  <property fmtid="{D5CDD505-2E9C-101B-9397-08002B2CF9AE}" pid="56" name="Solution Areas">
    <vt:lpwstr>3476;#Applications and Infrastructure|f69679d5-ce87-4413-9040-82ea79c5c527</vt:lpwstr>
  </property>
  <property fmtid="{D5CDD505-2E9C-101B-9397-08002B2CF9AE}" pid="57" name="MSProfessions">
    <vt:lpwstr>3090;#Business Development ＆ Strategy|e15e035a-c407-4f56-adf2-716c26e5bbdb;#3094;#Sales|72627068-acd7-4c1a-8b95-a0256be5dc9f;#3098;#Services|31216a1b-ed7a-4548-8e47-1aa2e6048472</vt:lpwstr>
  </property>
</Properties>
</file>